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3"/>
    <p:sldMasterId id="2147483648" r:id="rId4"/>
  </p:sldMasterIdLst>
  <p:notesMasterIdLst>
    <p:notesMasterId r:id="rId25"/>
  </p:notesMasterIdLst>
  <p:sldIdLst>
    <p:sldId id="265" r:id="rId5"/>
    <p:sldId id="266" r:id="rId6"/>
    <p:sldId id="267" r:id="rId7"/>
    <p:sldId id="285" r:id="rId8"/>
    <p:sldId id="286" r:id="rId9"/>
    <p:sldId id="291" r:id="rId10"/>
    <p:sldId id="290" r:id="rId11"/>
    <p:sldId id="287" r:id="rId12"/>
    <p:sldId id="292" r:id="rId13"/>
    <p:sldId id="289" r:id="rId14"/>
    <p:sldId id="274" r:id="rId15"/>
    <p:sldId id="293" r:id="rId16"/>
    <p:sldId id="263" r:id="rId17"/>
    <p:sldId id="272" r:id="rId18"/>
    <p:sldId id="268" r:id="rId19"/>
    <p:sldId id="271" r:id="rId20"/>
    <p:sldId id="279" r:id="rId21"/>
    <p:sldId id="261" r:id="rId22"/>
    <p:sldId id="283" r:id="rId23"/>
    <p:sldId id="288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7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5810EA90-BA17-44EA-BA86-8EB08E91042C}"/>
    <pc:docChg chg="modSld">
      <pc:chgData name="Konstantin Glukhenkiy" userId="24b49d37-c936-4e44-8fab-4bfac34f62f4" providerId="ADAL" clId="{5810EA90-BA17-44EA-BA86-8EB08E91042C}" dt="2024-01-22T09:18:15.565" v="12" actId="6549"/>
      <pc:docMkLst>
        <pc:docMk/>
      </pc:docMkLst>
      <pc:sldChg chg="modSp mod">
        <pc:chgData name="Konstantin Glukhenkiy" userId="24b49d37-c936-4e44-8fab-4bfac34f62f4" providerId="ADAL" clId="{5810EA90-BA17-44EA-BA86-8EB08E91042C}" dt="2024-01-22T09:18:15.565" v="12" actId="6549"/>
        <pc:sldMkLst>
          <pc:docMk/>
          <pc:sldMk cId="2574424397" sldId="265"/>
        </pc:sldMkLst>
        <pc:spChg chg="mod">
          <ac:chgData name="Konstantin Glukhenkiy" userId="24b49d37-c936-4e44-8fab-4bfac34f62f4" providerId="ADAL" clId="{5810EA90-BA17-44EA-BA86-8EB08E91042C}" dt="2024-01-22T09:18:15.565" v="12" actId="6549"/>
          <ac:spMkLst>
            <pc:docMk/>
            <pc:sldMk cId="2574424397" sldId="265"/>
            <ac:spMk id="5" creationId="{F6FC4AF4-E468-4466-AB2F-DF925A5E6D8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22/01/2024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3E40E0-C688-FB49-A5E7-75DA65706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825" y="769620"/>
            <a:ext cx="4038600" cy="125444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EF1CA5E-06C6-584C-B3BB-8988115CBE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0013" y="760413"/>
            <a:ext cx="6251575" cy="5337175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68A768D0-2C4D-FA40-8505-D263EC289E68}"/>
              </a:ext>
            </a:extLst>
          </p:cNvPr>
          <p:cNvCxnSpPr/>
          <p:nvPr userDrawn="1"/>
        </p:nvCxnSpPr>
        <p:spPr>
          <a:xfrm>
            <a:off x="758825" y="6097588"/>
            <a:ext cx="4038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CDCDE0E9-C1AE-9647-B7DE-33D506F76C8C}"/>
              </a:ext>
            </a:extLst>
          </p:cNvPr>
          <p:cNvCxnSpPr>
            <a:cxnSpLocks/>
          </p:cNvCxnSpPr>
          <p:nvPr userDrawn="1"/>
        </p:nvCxnSpPr>
        <p:spPr>
          <a:xfrm>
            <a:off x="5186045" y="6097588"/>
            <a:ext cx="624554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BEDAA02A-6513-0D43-B26B-19D5647C14F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C6B6131B-4F85-2449-B576-0BC84065AE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SIG-AVRS Status Report GRBP-79</a:t>
            </a:r>
            <a:endParaRPr lang="nl-NL" dirty="0"/>
          </a:p>
        </p:txBody>
      </p:sp>
      <p:sp>
        <p:nvSpPr>
          <p:cNvPr id="62" name="Tijdelijke aanduiding voor dianummer 61">
            <a:extLst>
              <a:ext uri="{FF2B5EF4-FFF2-40B4-BE49-F238E27FC236}">
                <a16:creationId xmlns:a16="http://schemas.microsoft.com/office/drawing/2014/main" id="{8FF31F11-AEC7-F94D-B03C-1E040EF75B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E5C2CF4-0E80-7A46-8F96-EE1F0D78FA73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44" name="Groep 43">
            <a:extLst>
              <a:ext uri="{FF2B5EF4-FFF2-40B4-BE49-F238E27FC236}">
                <a16:creationId xmlns:a16="http://schemas.microsoft.com/office/drawing/2014/main" id="{9C7ABC6B-BA83-5D4C-A46D-5696B154EF72}"/>
              </a:ext>
            </a:extLst>
          </p:cNvPr>
          <p:cNvGrpSpPr/>
          <p:nvPr userDrawn="1"/>
        </p:nvGrpSpPr>
        <p:grpSpPr>
          <a:xfrm>
            <a:off x="12376269" y="-54065"/>
            <a:ext cx="3518336" cy="7340224"/>
            <a:chOff x="12376269" y="-120870"/>
            <a:chExt cx="3518336" cy="7340224"/>
          </a:xfrm>
        </p:grpSpPr>
        <p:grpSp>
          <p:nvGrpSpPr>
            <p:cNvPr id="34" name="Groep 33">
              <a:extLst>
                <a:ext uri="{FF2B5EF4-FFF2-40B4-BE49-F238E27FC236}">
                  <a16:creationId xmlns:a16="http://schemas.microsoft.com/office/drawing/2014/main" id="{7BAB1BCC-B205-9347-B382-6488A2A40724}"/>
                </a:ext>
              </a:extLst>
            </p:cNvPr>
            <p:cNvGrpSpPr/>
            <p:nvPr userDrawn="1"/>
          </p:nvGrpSpPr>
          <p:grpSpPr>
            <a:xfrm>
              <a:off x="12433106" y="847293"/>
              <a:ext cx="3461499" cy="6372061"/>
              <a:chOff x="-2933894" y="1437843"/>
              <a:chExt cx="3461499" cy="6372061"/>
            </a:xfrm>
          </p:grpSpPr>
          <p:cxnSp>
            <p:nvCxnSpPr>
              <p:cNvPr id="35" name="Gebogen verbindingslijn 34">
                <a:extLst>
                  <a:ext uri="{FF2B5EF4-FFF2-40B4-BE49-F238E27FC236}">
                    <a16:creationId xmlns:a16="http://schemas.microsoft.com/office/drawing/2014/main" id="{4A19D269-31CB-224B-AFC3-44E696B1FD31}"/>
                  </a:ext>
                </a:extLst>
              </p:cNvPr>
              <p:cNvCxnSpPr>
                <a:cxnSpLocks/>
                <a:stCxn id="67" idx="4"/>
                <a:endCxn id="63" idx="1"/>
              </p:cNvCxnSpPr>
              <p:nvPr userDrawn="1"/>
            </p:nvCxnSpPr>
            <p:spPr>
              <a:xfrm rot="16200000" flipH="1">
                <a:off x="-2690856" y="4440343"/>
                <a:ext cx="651202" cy="885279"/>
              </a:xfrm>
              <a:prstGeom prst="bentConnector2">
                <a:avLst/>
              </a:prstGeom>
              <a:ln w="19050"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kstvak 35">
                <a:extLst>
                  <a:ext uri="{FF2B5EF4-FFF2-40B4-BE49-F238E27FC236}">
                    <a16:creationId xmlns:a16="http://schemas.microsoft.com/office/drawing/2014/main" id="{39B61D84-17C6-054B-BBD2-0364F9381358}"/>
                  </a:ext>
                </a:extLst>
              </p:cNvPr>
              <p:cNvSpPr txBox="1"/>
              <p:nvPr userDrawn="1"/>
            </p:nvSpPr>
            <p:spPr>
              <a:xfrm>
                <a:off x="-2564915" y="1437843"/>
                <a:ext cx="3009400" cy="3370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71463" marR="0" lvl="0" indent="-2714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Pct val="100000"/>
                  <a:buFont typeface="Zapf Dingbats"/>
                  <a:buChar char="❯"/>
                  <a:tabLst/>
                  <a:defRPr/>
                </a:pPr>
                <a:r>
                  <a:rPr lang="nl-NL" sz="2000" kern="1200" noProof="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rPr>
                  <a:t>opsommingteken</a:t>
                </a:r>
              </a:p>
              <a:p>
                <a:pPr marL="2746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blauw, 20 pt</a:t>
                </a:r>
              </a:p>
              <a:p>
                <a:pPr marL="490538" marR="0" lvl="1" indent="-219075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buFont typeface="Systeemlettertype"/>
                  <a:buChar char="›"/>
                  <a:tabLst/>
                  <a:defRPr/>
                </a:pPr>
                <a:r>
                  <a:rPr lang="nl-NL" sz="2000" kern="1200" noProof="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rPr>
                  <a:t>opsommingsteken (hoger niveau)</a:t>
                </a:r>
              </a:p>
              <a:p>
                <a:pPr marL="492125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blauw, 20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endPara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261938" marR="0" lvl="2" indent="-261938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2000" b="1" kern="1200" noProof="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rPr>
                  <a:t>subkop</a:t>
                </a:r>
                <a:endParaRPr lang="nl-NL" sz="1200" kern="1200" noProof="0" dirty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B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ld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blauw, 20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endPara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3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Systeemlettertype"/>
                  <a:buChar char="​"/>
                  <a:tabLst/>
                  <a:defRPr/>
                </a:pPr>
                <a:r>
                  <a:rPr lang="nl-NL" sz="2000" kern="1200" cap="all" baseline="0" noProof="0" dirty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rPr>
                  <a:t>OPVALLENDE TEK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oranje, 20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kapitalen</a:t>
                </a:r>
              </a:p>
              <a:p>
                <a:pPr marL="0" marR="0" lvl="4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steemlettertype"/>
                  <a:buChar char="​"/>
                  <a:tabLst/>
                  <a:defRPr/>
                </a:pPr>
                <a:r>
                  <a:rPr lang="nl-NL" sz="1600" kern="1200" noProof="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rPr>
                  <a:t>kleine tek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grijs, 16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endPara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kstvak 62">
                <a:extLst>
                  <a:ext uri="{FF2B5EF4-FFF2-40B4-BE49-F238E27FC236}">
                    <a16:creationId xmlns:a16="http://schemas.microsoft.com/office/drawing/2014/main" id="{A6582C31-CD78-4F48-BFE7-81B820B9FB71}"/>
                  </a:ext>
                </a:extLst>
              </p:cNvPr>
              <p:cNvSpPr txBox="1"/>
              <p:nvPr userDrawn="1"/>
            </p:nvSpPr>
            <p:spPr>
              <a:xfrm>
                <a:off x="-1922615" y="4931585"/>
                <a:ext cx="2450220" cy="553998"/>
              </a:xfrm>
              <a:prstGeom prst="rect">
                <a:avLst/>
              </a:prstGeom>
              <a:noFill/>
            </p:spPr>
            <p:txBody>
              <a:bodyPr wrap="square" lIns="90000" rtlCol="0">
                <a:spAutoFit/>
              </a:bodyPr>
              <a:lstStyle/>
              <a:p>
                <a:pPr algn="l"/>
                <a:r>
                  <a:rPr lang="nl-NL" sz="1000" cap="none" baseline="0" dirty="0">
                    <a:solidFill>
                      <a:schemeClr val="accent2"/>
                    </a:solidFill>
                    <a:latin typeface="+mj-lt"/>
                    <a:ea typeface="Arial" charset="0"/>
                    <a:cs typeface="Arial" charset="0"/>
                  </a:rPr>
                  <a:t>In de </a:t>
                </a:r>
                <a:r>
                  <a:rPr lang="nl-NL" sz="1000" b="1" u="none" cap="none" baseline="0" dirty="0">
                    <a:solidFill>
                      <a:schemeClr val="accent2"/>
                    </a:solidFill>
                    <a:latin typeface="+mj-lt"/>
                    <a:ea typeface="Arial" charset="0"/>
                    <a:cs typeface="Arial" charset="0"/>
                  </a:rPr>
                  <a:t>tekstvakken</a:t>
                </a:r>
                <a:r>
                  <a:rPr lang="nl-NL" sz="1000" cap="none" baseline="0" dirty="0">
                    <a:solidFill>
                      <a:schemeClr val="accent2"/>
                    </a:solidFill>
                    <a:latin typeface="+mj-lt"/>
                    <a:ea typeface="Arial" charset="0"/>
                    <a:cs typeface="Arial" charset="0"/>
                  </a:rPr>
                  <a:t> kun je vijf soorten tekst weergeven met eigen opmaak. De opmaak is gekoppeld aan lijstniveaus. </a:t>
                </a:r>
              </a:p>
            </p:txBody>
          </p:sp>
          <p:sp>
            <p:nvSpPr>
              <p:cNvPr id="64" name="Tekstvak 63">
                <a:extLst>
                  <a:ext uri="{FF2B5EF4-FFF2-40B4-BE49-F238E27FC236}">
                    <a16:creationId xmlns:a16="http://schemas.microsoft.com/office/drawing/2014/main" id="{EACDDC94-83B5-D24D-ACDB-278E422F3050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1518103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l-NL" sz="1200" b="1" cap="all" dirty="0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65" name="Tekstvak 64">
                <a:extLst>
                  <a:ext uri="{FF2B5EF4-FFF2-40B4-BE49-F238E27FC236}">
                    <a16:creationId xmlns:a16="http://schemas.microsoft.com/office/drawing/2014/main" id="{78FB249C-5244-F743-A029-CF4B2F781242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2147956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2</a:t>
                </a:r>
              </a:p>
            </p:txBody>
          </p:sp>
          <p:sp>
            <p:nvSpPr>
              <p:cNvPr id="66" name="Tekstvak 65">
                <a:extLst>
                  <a:ext uri="{FF2B5EF4-FFF2-40B4-BE49-F238E27FC236}">
                    <a16:creationId xmlns:a16="http://schemas.microsoft.com/office/drawing/2014/main" id="{937F557C-CDA2-F849-B023-2CDF25E8F6D8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3706035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4</a:t>
                </a:r>
              </a:p>
            </p:txBody>
          </p:sp>
          <p:sp>
            <p:nvSpPr>
              <p:cNvPr id="67" name="Tekstvak 66">
                <a:extLst>
                  <a:ext uri="{FF2B5EF4-FFF2-40B4-BE49-F238E27FC236}">
                    <a16:creationId xmlns:a16="http://schemas.microsoft.com/office/drawing/2014/main" id="{DADB7367-F107-DB49-B053-E794B259AD22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4305382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5</a:t>
                </a:r>
              </a:p>
            </p:txBody>
          </p:sp>
          <p:sp>
            <p:nvSpPr>
              <p:cNvPr id="68" name="Tekstvak 67">
                <a:extLst>
                  <a:ext uri="{FF2B5EF4-FFF2-40B4-BE49-F238E27FC236}">
                    <a16:creationId xmlns:a16="http://schemas.microsoft.com/office/drawing/2014/main" id="{5270EBB9-BD79-1948-A278-6DAF68ECD452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3059543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3</a:t>
                </a:r>
              </a:p>
            </p:txBody>
          </p:sp>
          <p:grpSp>
            <p:nvGrpSpPr>
              <p:cNvPr id="69" name="Groeperen 38">
                <a:extLst>
                  <a:ext uri="{FF2B5EF4-FFF2-40B4-BE49-F238E27FC236}">
                    <a16:creationId xmlns:a16="http://schemas.microsoft.com/office/drawing/2014/main" id="{94A77935-C58A-C349-8756-BECF7D424CAD}"/>
                  </a:ext>
                </a:extLst>
              </p:cNvPr>
              <p:cNvGrpSpPr/>
              <p:nvPr userDrawn="1"/>
            </p:nvGrpSpPr>
            <p:grpSpPr>
              <a:xfrm>
                <a:off x="-2817520" y="6055099"/>
                <a:ext cx="2918952" cy="1754805"/>
                <a:chOff x="-5218600" y="4763397"/>
                <a:chExt cx="2918952" cy="1562562"/>
              </a:xfrm>
            </p:grpSpPr>
            <p:pic>
              <p:nvPicPr>
                <p:cNvPr id="70" name="Afbeelding 69">
                  <a:extLst>
                    <a:ext uri="{FF2B5EF4-FFF2-40B4-BE49-F238E27FC236}">
                      <a16:creationId xmlns:a16="http://schemas.microsoft.com/office/drawing/2014/main" id="{51DF2C6F-9476-5C47-946B-CDD63942ABB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5212991" y="5461767"/>
                  <a:ext cx="1325880" cy="315512"/>
                </a:xfrm>
                <a:prstGeom prst="rect">
                  <a:avLst/>
                </a:prstGeom>
              </p:spPr>
            </p:pic>
            <p:cxnSp>
              <p:nvCxnSpPr>
                <p:cNvPr id="71" name="Rechte verbindingslijn 70">
                  <a:extLst>
                    <a:ext uri="{FF2B5EF4-FFF2-40B4-BE49-F238E27FC236}">
                      <a16:creationId xmlns:a16="http://schemas.microsoft.com/office/drawing/2014/main" id="{78401B3B-EBDC-B74F-B2BF-353BB8CBC737}"/>
                    </a:ext>
                  </a:extLst>
                </p:cNvPr>
                <p:cNvCxnSpPr/>
                <p:nvPr userDrawn="1"/>
              </p:nvCxnSpPr>
              <p:spPr>
                <a:xfrm>
                  <a:off x="-5218600" y="5826230"/>
                  <a:ext cx="2918952" cy="0"/>
                </a:xfrm>
                <a:prstGeom prst="line">
                  <a:avLst/>
                </a:prstGeom>
                <a:ln w="9525">
                  <a:solidFill>
                    <a:schemeClr val="accent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72" name="Groeperen 37">
                  <a:extLst>
                    <a:ext uri="{FF2B5EF4-FFF2-40B4-BE49-F238E27FC236}">
                      <a16:creationId xmlns:a16="http://schemas.microsoft.com/office/drawing/2014/main" id="{0BCDC8D9-C536-EB4D-AA77-1911CBABF804}"/>
                    </a:ext>
                  </a:extLst>
                </p:cNvPr>
                <p:cNvGrpSpPr/>
                <p:nvPr userDrawn="1"/>
              </p:nvGrpSpPr>
              <p:grpSpPr>
                <a:xfrm>
                  <a:off x="-5218600" y="4763397"/>
                  <a:ext cx="2918948" cy="1562562"/>
                  <a:chOff x="-5218600" y="4763397"/>
                  <a:chExt cx="2918948" cy="1562562"/>
                </a:xfrm>
              </p:grpSpPr>
              <p:sp>
                <p:nvSpPr>
                  <p:cNvPr id="75" name="Rechthoek 74">
                    <a:extLst>
                      <a:ext uri="{FF2B5EF4-FFF2-40B4-BE49-F238E27FC236}">
                        <a16:creationId xmlns:a16="http://schemas.microsoft.com/office/drawing/2014/main" id="{268BA722-FC3C-274C-BC07-DD7511018B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4323696" y="5107254"/>
                    <a:ext cx="1408534" cy="35627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l"/>
                    <a:r>
                      <a:rPr lang="nl-NL" sz="1000" b="1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Volgende stijl </a:t>
                    </a:r>
                    <a: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(lijstniveau verhogen)</a:t>
                    </a:r>
                  </a:p>
                </p:txBody>
              </p:sp>
              <p:sp>
                <p:nvSpPr>
                  <p:cNvPr id="76" name="Rechthoek 75">
                    <a:extLst>
                      <a:ext uri="{FF2B5EF4-FFF2-40B4-BE49-F238E27FC236}">
                        <a16:creationId xmlns:a16="http://schemas.microsoft.com/office/drawing/2014/main" id="{63792FAC-A2E3-3442-A482-F6AE8137F0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4323696" y="4763397"/>
                    <a:ext cx="1524206" cy="35627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l"/>
                    <a:r>
                      <a:rPr lang="nl-NL" sz="1000" b="1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Vorige stijl </a:t>
                    </a:r>
                    <a:b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</a:br>
                    <a: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(lijstniveau verlagen)</a:t>
                    </a:r>
                  </a:p>
                </p:txBody>
              </p:sp>
              <p:cxnSp>
                <p:nvCxnSpPr>
                  <p:cNvPr id="77" name="Gebogen verbindingslijn 55">
                    <a:extLst>
                      <a:ext uri="{FF2B5EF4-FFF2-40B4-BE49-F238E27FC236}">
                        <a16:creationId xmlns:a16="http://schemas.microsoft.com/office/drawing/2014/main" id="{9A4E8BB2-CCCB-9D4E-A8B4-0F4FDE8C12D2}"/>
                      </a:ext>
                    </a:extLst>
                  </p:cNvPr>
                  <p:cNvCxnSpPr>
                    <a:cxnSpLocks/>
                    <a:stCxn id="86" idx="0"/>
                    <a:endCxn id="75" idx="1"/>
                  </p:cNvCxnSpPr>
                  <p:nvPr userDrawn="1"/>
                </p:nvCxnSpPr>
                <p:spPr>
                  <a:xfrm rot="5400000" flipH="1" flipV="1">
                    <a:off x="-4482682" y="5300323"/>
                    <a:ext cx="173915" cy="144055"/>
                  </a:xfrm>
                  <a:prstGeom prst="bentConnector2">
                    <a:avLst/>
                  </a:prstGeom>
                  <a:ln w="19050">
                    <a:solidFill>
                      <a:schemeClr val="accent1"/>
                    </a:solidFill>
                    <a:prstDash val="sysDot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Gebogen verbindingslijn 57">
                    <a:extLst>
                      <a:ext uri="{FF2B5EF4-FFF2-40B4-BE49-F238E27FC236}">
                        <a16:creationId xmlns:a16="http://schemas.microsoft.com/office/drawing/2014/main" id="{8F538C64-C689-894A-A9B8-813F04570714}"/>
                      </a:ext>
                    </a:extLst>
                  </p:cNvPr>
                  <p:cNvCxnSpPr>
                    <a:cxnSpLocks/>
                    <a:stCxn id="38" idx="0"/>
                    <a:endCxn id="76" idx="1"/>
                  </p:cNvCxnSpPr>
                  <p:nvPr userDrawn="1"/>
                </p:nvCxnSpPr>
                <p:spPr>
                  <a:xfrm rot="5400000" flipH="1" flipV="1">
                    <a:off x="-4737022" y="5045982"/>
                    <a:ext cx="517772" cy="308880"/>
                  </a:xfrm>
                  <a:prstGeom prst="bentConnector2">
                    <a:avLst/>
                  </a:prstGeom>
                  <a:ln w="19050">
                    <a:solidFill>
                      <a:schemeClr val="accent1"/>
                    </a:solidFill>
                    <a:prstDash val="sysDot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1" name="Tekstvak 80">
                    <a:extLst>
                      <a:ext uri="{FF2B5EF4-FFF2-40B4-BE49-F238E27FC236}">
                        <a16:creationId xmlns:a16="http://schemas.microsoft.com/office/drawing/2014/main" id="{AFA79E1E-BE50-0E4C-9457-AE8F72C002F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-4426152" y="5832653"/>
                    <a:ext cx="2126500" cy="493306"/>
                  </a:xfrm>
                  <a:prstGeom prst="rect">
                    <a:avLst/>
                  </a:prstGeom>
                  <a:noFill/>
                </p:spPr>
                <p:txBody>
                  <a:bodyPr wrap="square" lIns="0" rtlCol="0">
                    <a:spAutoFit/>
                  </a:bodyPr>
                  <a:lstStyle/>
                  <a:p>
                    <a:pPr algn="l"/>
                    <a: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Herstel eventueel de originele opmaak van de dia met de knop </a:t>
                    </a:r>
                    <a:r>
                      <a:rPr lang="nl-NL" sz="1000" b="1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Opnieuw instellen</a:t>
                    </a:r>
                    <a:endParaRPr lang="nl-NL" sz="1000" cap="none" baseline="0" dirty="0">
                      <a:solidFill>
                        <a:schemeClr val="accent2"/>
                      </a:solidFill>
                      <a:latin typeface="+mj-lt"/>
                      <a:ea typeface="Arial" charset="0"/>
                      <a:cs typeface="Arial" charset="0"/>
                    </a:endParaRPr>
                  </a:p>
                </p:txBody>
              </p:sp>
              <p:pic>
                <p:nvPicPr>
                  <p:cNvPr id="83" name="Afbeelding 82">
                    <a:extLst>
                      <a:ext uri="{FF2B5EF4-FFF2-40B4-BE49-F238E27FC236}">
                        <a16:creationId xmlns:a16="http://schemas.microsoft.com/office/drawing/2014/main" id="{CAA0294B-191A-9543-8CC6-35E717BC9CF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-5218600" y="5884354"/>
                    <a:ext cx="731520" cy="122134"/>
                  </a:xfrm>
                  <a:prstGeom prst="rect">
                    <a:avLst/>
                  </a:prstGeom>
                </p:spPr>
              </p:pic>
            </p:grpSp>
          </p:grpSp>
        </p:grpSp>
        <p:sp>
          <p:nvSpPr>
            <p:cNvPr id="5" name="Rechthoek 4">
              <a:extLst>
                <a:ext uri="{FF2B5EF4-FFF2-40B4-BE49-F238E27FC236}">
                  <a16:creationId xmlns:a16="http://schemas.microsoft.com/office/drawing/2014/main" id="{C1FE3EF0-7B60-314B-B34E-B2A6B6489D4A}"/>
                </a:ext>
              </a:extLst>
            </p:cNvPr>
            <p:cNvSpPr/>
            <p:nvPr userDrawn="1"/>
          </p:nvSpPr>
          <p:spPr>
            <a:xfrm>
              <a:off x="13444384" y="4990758"/>
              <a:ext cx="22170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algn="l" defTabSz="914400" rtl="0" eaLnBrk="1" latinLnBrk="0" hangingPunct="1"/>
              <a:r>
                <a:rPr lang="nl-NL" sz="1000" kern="1200" cap="none" baseline="0" dirty="0">
                  <a:solidFill>
                    <a:schemeClr val="accent2"/>
                  </a:solidFill>
                  <a:latin typeface="+mj-lt"/>
                  <a:ea typeface="Arial" charset="0"/>
                  <a:cs typeface="Arial" charset="0"/>
                </a:rPr>
                <a:t>Wijzig de tekststijlen met de tab-knop of de knoppen in de menubalk:</a:t>
              </a:r>
            </a:p>
          </p:txBody>
        </p:sp>
        <p:cxnSp>
          <p:nvCxnSpPr>
            <p:cNvPr id="9" name="Rechte verbindingslijn 8">
              <a:extLst>
                <a:ext uri="{FF2B5EF4-FFF2-40B4-BE49-F238E27FC236}">
                  <a16:creationId xmlns:a16="http://schemas.microsoft.com/office/drawing/2014/main" id="{1716118D-F3C6-9246-9AAD-672FA3018A99}"/>
                </a:ext>
              </a:extLst>
            </p:cNvPr>
            <p:cNvCxnSpPr>
              <a:stCxn id="64" idx="4"/>
              <a:endCxn id="65" idx="0"/>
            </p:cNvCxnSpPr>
            <p:nvPr userDrawn="1"/>
          </p:nvCxnSpPr>
          <p:spPr>
            <a:xfrm>
              <a:off x="12559106" y="1179553"/>
              <a:ext cx="0" cy="377853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Rechte verbindingslijn 38">
              <a:extLst>
                <a:ext uri="{FF2B5EF4-FFF2-40B4-BE49-F238E27FC236}">
                  <a16:creationId xmlns:a16="http://schemas.microsoft.com/office/drawing/2014/main" id="{E0B437D6-8BB3-9B4A-960B-72B635EA8D53}"/>
                </a:ext>
              </a:extLst>
            </p:cNvPr>
            <p:cNvCxnSpPr>
              <a:cxnSpLocks/>
              <a:stCxn id="65" idx="4"/>
              <a:endCxn id="68" idx="0"/>
            </p:cNvCxnSpPr>
            <p:nvPr userDrawn="1"/>
          </p:nvCxnSpPr>
          <p:spPr>
            <a:xfrm>
              <a:off x="12559106" y="1809406"/>
              <a:ext cx="0" cy="659587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41">
              <a:extLst>
                <a:ext uri="{FF2B5EF4-FFF2-40B4-BE49-F238E27FC236}">
                  <a16:creationId xmlns:a16="http://schemas.microsoft.com/office/drawing/2014/main" id="{1CB040C1-95F2-A641-B538-98DAF3A0343E}"/>
                </a:ext>
              </a:extLst>
            </p:cNvPr>
            <p:cNvCxnSpPr>
              <a:cxnSpLocks/>
              <a:stCxn id="68" idx="4"/>
              <a:endCxn id="66" idx="0"/>
            </p:cNvCxnSpPr>
            <p:nvPr userDrawn="1"/>
          </p:nvCxnSpPr>
          <p:spPr>
            <a:xfrm>
              <a:off x="12559106" y="2720993"/>
              <a:ext cx="0" cy="394492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Rechte verbindingslijn 44">
              <a:extLst>
                <a:ext uri="{FF2B5EF4-FFF2-40B4-BE49-F238E27FC236}">
                  <a16:creationId xmlns:a16="http://schemas.microsoft.com/office/drawing/2014/main" id="{4ACA444C-F4E2-274D-B8D4-641B356A6673}"/>
                </a:ext>
              </a:extLst>
            </p:cNvPr>
            <p:cNvCxnSpPr>
              <a:cxnSpLocks/>
              <a:stCxn id="66" idx="4"/>
              <a:endCxn id="67" idx="0"/>
            </p:cNvCxnSpPr>
            <p:nvPr userDrawn="1"/>
          </p:nvCxnSpPr>
          <p:spPr>
            <a:xfrm>
              <a:off x="12559106" y="3367485"/>
              <a:ext cx="0" cy="347347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vaal 37">
              <a:extLst>
                <a:ext uri="{FF2B5EF4-FFF2-40B4-BE49-F238E27FC236}">
                  <a16:creationId xmlns:a16="http://schemas.microsoft.com/office/drawing/2014/main" id="{1B1D6485-9E17-9041-B320-3CE13213BDD8}"/>
                </a:ext>
              </a:extLst>
            </p:cNvPr>
            <p:cNvSpPr/>
            <p:nvPr userDrawn="1"/>
          </p:nvSpPr>
          <p:spPr>
            <a:xfrm>
              <a:off x="13036504" y="6246078"/>
              <a:ext cx="198000" cy="198827"/>
            </a:xfrm>
            <a:prstGeom prst="ellipse">
              <a:avLst/>
            </a:prstGeom>
            <a:noFill/>
            <a:ln w="15875">
              <a:solidFill>
                <a:schemeClr val="accent1"/>
              </a:solidFill>
            </a:ln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pPr lvl="0" algn="ctr"/>
              <a:endParaRPr lang="nl-NL" sz="1200" b="1" cap="all">
                <a:solidFill>
                  <a:schemeClr val="accent1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56AA597B-7F3C-CA43-88A3-C008A4832CD4}"/>
                </a:ext>
              </a:extLst>
            </p:cNvPr>
            <p:cNvSpPr/>
            <p:nvPr userDrawn="1"/>
          </p:nvSpPr>
          <p:spPr>
            <a:xfrm>
              <a:off x="12376269" y="-120870"/>
              <a:ext cx="3009400" cy="7448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  <a:defRPr/>
              </a:pPr>
              <a:r>
                <a:rPr lang="nl-NL" sz="3600" b="1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itel</a:t>
              </a:r>
              <a:endParaRPr lang="nl-NL" sz="54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rial</a:t>
              </a:r>
              <a:r>
                <a: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nl-NL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old</a:t>
              </a:r>
              <a:r>
                <a: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zwart, 36 </a:t>
              </a:r>
              <a:r>
                <a:rPr kumimoji="0" lang="nl-NL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t</a:t>
              </a:r>
              <a:endParaRPr lang="nl-NL" sz="1000"/>
            </a:p>
          </p:txBody>
        </p:sp>
        <p:sp>
          <p:nvSpPr>
            <p:cNvPr id="86" name="Ovaal 85">
              <a:extLst>
                <a:ext uri="{FF2B5EF4-FFF2-40B4-BE49-F238E27FC236}">
                  <a16:creationId xmlns:a16="http://schemas.microsoft.com/office/drawing/2014/main" id="{8DF78219-E6B7-5A4C-8690-96063E05B60B}"/>
                </a:ext>
              </a:extLst>
            </p:cNvPr>
            <p:cNvSpPr/>
            <p:nvPr userDrawn="1"/>
          </p:nvSpPr>
          <p:spPr>
            <a:xfrm>
              <a:off x="13201329" y="6246078"/>
              <a:ext cx="198000" cy="198827"/>
            </a:xfrm>
            <a:prstGeom prst="ellipse">
              <a:avLst/>
            </a:prstGeom>
            <a:noFill/>
            <a:ln w="15875">
              <a:solidFill>
                <a:schemeClr val="accent1"/>
              </a:solidFill>
            </a:ln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pPr lvl="0" algn="ctr"/>
              <a:endParaRPr lang="nl-NL" sz="1200" b="1" cap="all">
                <a:solidFill>
                  <a:schemeClr val="accent1"/>
                </a:solidFill>
                <a:latin typeface="+mj-lt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932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1E07F3F-700F-974C-A1F4-2A3066A33B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000" y="6364800"/>
            <a:ext cx="900000" cy="300000"/>
          </a:xfrm>
          <a:prstGeom prst="rect">
            <a:avLst/>
          </a:prstGeom>
        </p:spPr>
      </p:pic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46B8B9E5-47AB-114B-9AE7-5EE6FFD72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826" y="769620"/>
            <a:ext cx="10672762" cy="921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905A7E9-8CF4-9747-8F15-FF18D2BBB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024063"/>
            <a:ext cx="10669588" cy="40643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5E3A338-9FC0-BB41-9595-FC52685BFA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02788" y="6249600"/>
            <a:ext cx="95472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895F6D7-BEAB-C548-97F0-603DBE7648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77200" y="6249600"/>
            <a:ext cx="491891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/>
              <a:t>SIG-AVRS Status Report GRBP-79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D696A20-724C-0B4A-9113-ED68753D46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14660" y="6249600"/>
            <a:ext cx="81692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E5C2CF4-0E80-7A46-8F96-EE1F0D78FA73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DB61943F-E1DA-AA4B-B246-7B834C0F1C73}"/>
              </a:ext>
            </a:extLst>
          </p:cNvPr>
          <p:cNvSpPr/>
          <p:nvPr userDrawn="1"/>
        </p:nvSpPr>
        <p:spPr>
          <a:xfrm>
            <a:off x="-1393" y="0"/>
            <a:ext cx="12193200" cy="6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01142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90000"/>
        <a:buFont typeface="Zapf Dingbats"/>
        <a:buChar char="❯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90538" indent="-2190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rgbClr val="DB6216"/>
        </a:buClr>
        <a:buSzPct val="100000"/>
        <a:buFont typeface="Systeemlettertype"/>
        <a:buChar char="›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600"/>
        </a:spcBef>
        <a:buClrTx/>
        <a:buFont typeface="Systeemlettertype"/>
        <a:buChar char="​"/>
        <a:tabLst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Tx/>
        <a:buFont typeface="Systeemlettertype"/>
        <a:buChar char="​"/>
        <a:tabLst/>
        <a:defRPr sz="2000" kern="1200" cap="all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ClrTx/>
        <a:buFont typeface="Systeemlettertype"/>
        <a:buChar char="​"/>
        <a:tabLst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79" userDrawn="1">
          <p15:clr>
            <a:srgbClr val="F26B43"/>
          </p15:clr>
        </p15:guide>
        <p15:guide id="2" pos="478" userDrawn="1">
          <p15:clr>
            <a:srgbClr val="F26B43"/>
          </p15:clr>
        </p15:guide>
        <p15:guide id="4" orient="horz" pos="3841" userDrawn="1">
          <p15:clr>
            <a:srgbClr val="F26B43"/>
          </p15:clr>
        </p15:guide>
        <p15:guide id="6" pos="1870" userDrawn="1">
          <p15:clr>
            <a:srgbClr val="F26B43"/>
          </p15:clr>
        </p15:guide>
        <p15:guide id="7" pos="3022" userDrawn="1">
          <p15:clr>
            <a:srgbClr val="F26B43"/>
          </p15:clr>
        </p15:guide>
        <p15:guide id="8" pos="3263" userDrawn="1">
          <p15:clr>
            <a:srgbClr val="F26B43"/>
          </p15:clr>
        </p15:guide>
        <p15:guide id="9" pos="4407" userDrawn="1">
          <p15:clr>
            <a:srgbClr val="F26B43"/>
          </p15:clr>
        </p15:guide>
        <p15:guide id="10" pos="4659" userDrawn="1">
          <p15:clr>
            <a:srgbClr val="F26B43"/>
          </p15:clr>
        </p15:guide>
        <p15:guide id="11" pos="5811" userDrawn="1">
          <p15:clr>
            <a:srgbClr val="F26B43"/>
          </p15:clr>
        </p15:guide>
        <p15:guide id="12" pos="6049" userDrawn="1">
          <p15:clr>
            <a:srgbClr val="F26B43"/>
          </p15:clr>
        </p15:guide>
        <p15:guide id="13" pos="7201" userDrawn="1">
          <p15:clr>
            <a:srgbClr val="F26B43"/>
          </p15:clr>
        </p15:guide>
        <p15:guide id="14" pos="1630" userDrawn="1">
          <p15:clr>
            <a:srgbClr val="F26B43"/>
          </p15:clr>
        </p15:guide>
        <p15:guide id="15" orient="horz" pos="127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emf"/><Relationship Id="rId11" Type="http://schemas.openxmlformats.org/officeDocument/2006/relationships/image" Target="../media/image9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nece.org/sites/default/files/2022-05/GRVA-13-18e.pdf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unece.org/sites/default/files/2022-07/ECE-TRANS-WP29-1166e_0.pdf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0087308" TargetMode="External"/><Relationship Id="rId5" Type="http://schemas.openxmlformats.org/officeDocument/2006/relationships/image" Target="../media/image5.emf"/><Relationship Id="rId10" Type="http://schemas.openxmlformats.org/officeDocument/2006/relationships/hyperlink" Target="https://unece.org/sites/default/files/2023-07/ECE_TRANS_WP.29_1173e_0.pdf%20items%2025%20to%2032" TargetMode="External"/><Relationship Id="rId4" Type="http://schemas.openxmlformats.org/officeDocument/2006/relationships/oleObject" Target="../embeddings/oleObject4.bin"/><Relationship Id="rId9" Type="http://schemas.openxmlformats.org/officeDocument/2006/relationships/hyperlink" Target="https://unece.org/sites/default/files/2023-06/ECE-TRANS-WP.29-2023-86e.pdf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unece.org/transport/documents/2024/01/informal-documents/sig-avrs-guidelines-task-force-automated-vehicle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Report to 79</a:t>
            </a:r>
            <a:r>
              <a:rPr lang="en-GB" sz="4000" b="1" baseline="30000" dirty="0"/>
              <a:t>th</a:t>
            </a:r>
            <a:r>
              <a:rPr lang="en-GB" sz="4000" b="1" dirty="0"/>
              <a:t> Session of GRBP</a:t>
            </a:r>
            <a:br>
              <a:rPr lang="en-GB" sz="4000" b="1" dirty="0"/>
            </a:br>
            <a:r>
              <a:rPr lang="en-GB" sz="4000" b="1" dirty="0"/>
              <a:t>(February 2024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Special Interest Group Automated Vehicles Regulation Screening </a:t>
            </a:r>
          </a:p>
          <a:p>
            <a:r>
              <a:rPr lang="en-GB" sz="2800" dirty="0"/>
              <a:t>(SIG 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557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Submitted by the Chair of SIG AV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20440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BP-79-05</a:t>
            </a:r>
          </a:p>
          <a:p>
            <a:r>
              <a:rPr lang="en-GB" dirty="0"/>
              <a:t>79</a:t>
            </a:r>
            <a:r>
              <a:rPr lang="en-GB" baseline="30000" dirty="0"/>
              <a:t>th</a:t>
            </a:r>
            <a:r>
              <a:rPr lang="en-GB" dirty="0"/>
              <a:t> GRBP, 6 – 9 February 2024, </a:t>
            </a:r>
          </a:p>
          <a:p>
            <a:r>
              <a:rPr lang="en-GB" dirty="0"/>
              <a:t>agenda item 13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9F5210-E4AC-8213-C2F9-CA243F0D27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line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1F0A968-34BB-ED63-EC18-F1718B836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57DBFC0-782E-7A3F-1CB9-B6BEEB6EA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0</a:t>
            </a:fld>
            <a:endParaRPr lang="en-GB"/>
          </a:p>
        </p:txBody>
      </p:sp>
      <p:graphicFrame>
        <p:nvGraphicFramePr>
          <p:cNvPr id="8" name="Tabel 6">
            <a:extLst>
              <a:ext uri="{FF2B5EF4-FFF2-40B4-BE49-F238E27FC236}">
                <a16:creationId xmlns:a16="http://schemas.microsoft.com/office/drawing/2014/main" id="{E8390D6D-CCA8-6B3C-0B3B-CC0A8FCD17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586008"/>
              </p:ext>
            </p:extLst>
          </p:nvPr>
        </p:nvGraphicFramePr>
        <p:xfrm>
          <a:off x="838200" y="1518519"/>
          <a:ext cx="10669173" cy="357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3474">
                  <a:extLst>
                    <a:ext uri="{9D8B030D-6E8A-4147-A177-3AD203B41FA5}">
                      <a16:colId xmlns:a16="http://schemas.microsoft.com/office/drawing/2014/main" val="3315577674"/>
                    </a:ext>
                  </a:extLst>
                </a:gridCol>
                <a:gridCol w="5109308">
                  <a:extLst>
                    <a:ext uri="{9D8B030D-6E8A-4147-A177-3AD203B41FA5}">
                      <a16:colId xmlns:a16="http://schemas.microsoft.com/office/drawing/2014/main" val="3304724476"/>
                    </a:ext>
                  </a:extLst>
                </a:gridCol>
                <a:gridCol w="3556391">
                  <a:extLst>
                    <a:ext uri="{9D8B030D-6E8A-4147-A177-3AD203B41FA5}">
                      <a16:colId xmlns:a16="http://schemas.microsoft.com/office/drawing/2014/main" val="4037780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ema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5326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err="1"/>
                        <a:t>Febr</a:t>
                      </a:r>
                      <a:r>
                        <a:rPr lang="en-GB" dirty="0"/>
                        <a:t>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scribe necessary adaption of regulation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Overview she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9917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ept.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formal document for regulation R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efinitions, wording and including AV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057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i="1" dirty="0"/>
                        <a:t>Sept.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i="1" dirty="0"/>
                        <a:t>Proposal for adapted method for R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i="1" dirty="0"/>
                        <a:t>This needs discussion in the AVRS group. Can only be with agreement of IWG R51 (ISO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2005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Feb.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nformal document for regulation R138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finitions, wording and including AV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2118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ept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Working documents for R28/R1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9555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9186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C809C2-8388-6B40-05A0-BB210849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Dates for oncoming meetings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2823761-622D-D42F-35EC-C5F036BF1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17842C5-23BF-2F13-4107-187F98131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1</a:t>
            </a:fld>
            <a:endParaRPr lang="en-GB"/>
          </a:p>
        </p:txBody>
      </p:sp>
      <p:pic>
        <p:nvPicPr>
          <p:cNvPr id="6" name="Graphic 4">
            <a:extLst>
              <a:ext uri="{FF2B5EF4-FFF2-40B4-BE49-F238E27FC236}">
                <a16:creationId xmlns:a16="http://schemas.microsoft.com/office/drawing/2014/main" id="{396EA115-05DB-3FB8-F91E-D0C7E04685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sp>
        <p:nvSpPr>
          <p:cNvPr id="7" name="Textplatzhalter 5">
            <a:extLst>
              <a:ext uri="{FF2B5EF4-FFF2-40B4-BE49-F238E27FC236}">
                <a16:creationId xmlns:a16="http://schemas.microsoft.com/office/drawing/2014/main" id="{967D6344-8978-973D-6C20-4DA1372B8B1D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4000" b="1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DDDF0A36-65E9-E008-713A-ED6393FACBF8}"/>
              </a:ext>
            </a:extLst>
          </p:cNvPr>
          <p:cNvSpPr txBox="1">
            <a:spLocks/>
          </p:cNvSpPr>
          <p:nvPr/>
        </p:nvSpPr>
        <p:spPr>
          <a:xfrm>
            <a:off x="1788416" y="2315025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Oncoming 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9" name="Gerader Verbinder 26">
            <a:extLst>
              <a:ext uri="{FF2B5EF4-FFF2-40B4-BE49-F238E27FC236}">
                <a16:creationId xmlns:a16="http://schemas.microsoft.com/office/drawing/2014/main" id="{555B0B34-15C8-5253-50AF-F6144A5A4591}"/>
              </a:ext>
            </a:extLst>
          </p:cNvPr>
          <p:cNvCxnSpPr/>
          <p:nvPr/>
        </p:nvCxnSpPr>
        <p:spPr>
          <a:xfrm>
            <a:off x="1788416" y="297298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C557D241-46A7-17A9-9816-F3D2F0AD6637}"/>
              </a:ext>
            </a:extLst>
          </p:cNvPr>
          <p:cNvSpPr txBox="1">
            <a:spLocks/>
          </p:cNvSpPr>
          <p:nvPr/>
        </p:nvSpPr>
        <p:spPr bwMode="gray">
          <a:xfrm>
            <a:off x="1788416" y="3064380"/>
            <a:ext cx="4062196" cy="1755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chemeClr val="accent6"/>
                </a:solidFill>
              </a:rPr>
              <a:t>Web-meetings</a:t>
            </a:r>
          </a:p>
          <a:p>
            <a:r>
              <a:rPr lang="en-GB" sz="1100" dirty="0"/>
              <a:t>17</a:t>
            </a:r>
            <a:r>
              <a:rPr lang="en-GB" sz="1100" baseline="30000" dirty="0"/>
              <a:t>th</a:t>
            </a:r>
            <a:r>
              <a:rPr lang="en-GB" sz="1100" dirty="0"/>
              <a:t>      TF AVRS:  </a:t>
            </a:r>
          </a:p>
          <a:p>
            <a:r>
              <a:rPr lang="en-GB" sz="1100" dirty="0"/>
              <a:t>18</a:t>
            </a:r>
            <a:r>
              <a:rPr lang="en-GB" sz="1100" baseline="30000" dirty="0"/>
              <a:t>th</a:t>
            </a:r>
            <a:r>
              <a:rPr lang="en-GB" sz="1100" dirty="0"/>
              <a:t>      TF AVRS:</a:t>
            </a:r>
          </a:p>
          <a:p>
            <a:r>
              <a:rPr lang="en-GB" sz="1100" dirty="0"/>
              <a:t>19</a:t>
            </a:r>
            <a:r>
              <a:rPr lang="en-GB" sz="1100" baseline="30000" dirty="0"/>
              <a:t>th</a:t>
            </a:r>
            <a:r>
              <a:rPr lang="en-GB" sz="1100" dirty="0"/>
              <a:t>      TF AVRS:</a:t>
            </a:r>
          </a:p>
          <a:p>
            <a:r>
              <a:rPr lang="en-GB" sz="1100" dirty="0"/>
              <a:t>….</a:t>
            </a:r>
          </a:p>
          <a:p>
            <a:endParaRPr lang="en-GB" sz="1100" dirty="0"/>
          </a:p>
          <a:p>
            <a:r>
              <a:rPr lang="en-GB" sz="1100" dirty="0"/>
              <a:t>Guidance meetings with GRVA FADS  (</a:t>
            </a:r>
            <a:r>
              <a:rPr lang="en-GB" sz="1100" dirty="0" err="1"/>
              <a:t>tbd</a:t>
            </a:r>
            <a:r>
              <a:rPr lang="en-GB" sz="1100" dirty="0"/>
              <a:t> 2024)</a:t>
            </a:r>
          </a:p>
        </p:txBody>
      </p:sp>
    </p:spTree>
    <p:extLst>
      <p:ext uri="{BB962C8B-B14F-4D97-AF65-F5344CB8AC3E}">
        <p14:creationId xmlns:p14="http://schemas.microsoft.com/office/powerpoint/2010/main" val="27026392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76ED21-2B16-A110-03C9-D446F377E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 be approved by GRBP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A28AE59-E2CE-01D2-445A-81E6F49795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e Special Interest Group AVRS will continue as a Taskforce</a:t>
            </a:r>
          </a:p>
          <a:p>
            <a:r>
              <a:rPr lang="en-GB" dirty="0"/>
              <a:t>The Guideline document for the TF-AVRS will be adopted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26560E0-C635-7B18-D000-DDB863FDA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1083895-D6E9-33C5-2FAF-4D90ED38F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299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3</a:t>
            </a:fld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5ACBBD-7EE7-E5F6-60CA-16215681D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537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GB" sz="3600" b="1" dirty="0"/>
              <a:t>Next slides are background from GRBP-77 and 78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EC91A8C-C763-DB66-5877-82BD65CB1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59B4B6A-2785-B2E9-7DFC-D7E234AB0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0763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B33A31-865B-C03F-3AC4-1EEB50D29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Summary of earlier work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714E2EA-A73B-BAE0-BE02-E7C0CB103A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21 regulations screened</a:t>
            </a:r>
          </a:p>
          <a:p>
            <a:r>
              <a:rPr lang="en-GB" dirty="0"/>
              <a:t>13 regulations for further consideration</a:t>
            </a:r>
          </a:p>
          <a:p>
            <a:r>
              <a:rPr lang="en-GB" dirty="0"/>
              <a:t>GRBP decides to start with first detailed assessment of prioritized regulations</a:t>
            </a:r>
          </a:p>
          <a:p>
            <a:pPr lvl="1"/>
            <a:r>
              <a:rPr lang="en-GB" dirty="0"/>
              <a:t>R9, </a:t>
            </a:r>
            <a:r>
              <a:rPr lang="en-GB" b="1" dirty="0"/>
              <a:t>R28, R51, R138</a:t>
            </a:r>
            <a:r>
              <a:rPr lang="en-GB" dirty="0"/>
              <a:t>, R165</a:t>
            </a:r>
          </a:p>
          <a:p>
            <a:r>
              <a:rPr lang="en-GB" dirty="0"/>
              <a:t>(Sub)categories of AVs are not defined yet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D0C3928-3E8A-6888-2F15-AA9B26232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8339448-38F8-4CBB-FBC6-8EE5CAE21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18438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318C2B-3E2E-7D4A-716C-484CB589B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Development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9A538C4-B3EB-9C1F-8CA5-A03339BD8E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nder GRVA guidance</a:t>
            </a:r>
          </a:p>
          <a:p>
            <a:pPr lvl="1"/>
            <a:r>
              <a:rPr lang="en-GB" dirty="0"/>
              <a:t>Report for all GR’s and regulations to be assessed with priority</a:t>
            </a:r>
          </a:p>
          <a:p>
            <a:pPr lvl="1"/>
            <a:r>
              <a:rPr lang="en-GB" dirty="0"/>
              <a:t>Proposal accepted in WP29 June 2023</a:t>
            </a:r>
          </a:p>
          <a:p>
            <a:r>
              <a:rPr lang="en-GB" dirty="0"/>
              <a:t>GRVA-16-13 document with proposal for subcategories (OICA/CLEPA)</a:t>
            </a:r>
          </a:p>
          <a:p>
            <a:pPr lvl="1"/>
            <a:r>
              <a:rPr lang="en-GB" dirty="0"/>
              <a:t>Needs further detail and confirmation in RE.3 (expected in oct 2023)</a:t>
            </a:r>
          </a:p>
          <a:p>
            <a:pPr lvl="1"/>
            <a:r>
              <a:rPr lang="en-GB" dirty="0"/>
              <a:t>Updates have been submitted to GRVA-17</a:t>
            </a:r>
          </a:p>
          <a:p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5B706B2-4CBE-682A-47B8-5CBFB9256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5EE546-17DE-7087-C52B-D1109AF98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9265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453426" y="443572"/>
            <a:ext cx="5184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 categorization under R.E.3 </a:t>
            </a:r>
          </a:p>
        </p:txBody>
      </p:sp>
      <p:sp>
        <p:nvSpPr>
          <p:cNvPr id="170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2130687" y="2660281"/>
            <a:ext cx="1816491" cy="2959211"/>
          </a:xfrm>
          <a:prstGeom prst="roundRect">
            <a:avLst>
              <a:gd name="adj" fmla="val 9703"/>
            </a:avLst>
          </a:prstGeom>
          <a:solidFill>
            <a:schemeClr val="accent1">
              <a:lumMod val="20000"/>
              <a:lumOff val="80000"/>
              <a:alpha val="69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1" name="Rectangle: Rounded Corners 195">
            <a:extLst>
              <a:ext uri="{FF2B5EF4-FFF2-40B4-BE49-F238E27FC236}">
                <a16:creationId xmlns:a16="http://schemas.microsoft.com/office/drawing/2014/main" id="{81236963-1A04-48E6-84D9-5366270FF9C1}"/>
              </a:ext>
            </a:extLst>
          </p:cNvPr>
          <p:cNvSpPr/>
          <p:nvPr/>
        </p:nvSpPr>
        <p:spPr>
          <a:xfrm>
            <a:off x="100159" y="2660281"/>
            <a:ext cx="1954541" cy="2959211"/>
          </a:xfrm>
          <a:prstGeom prst="roundRect">
            <a:avLst>
              <a:gd name="adj" fmla="val 8901"/>
            </a:avLst>
          </a:prstGeom>
          <a:solidFill>
            <a:schemeClr val="accent1">
              <a:lumMod val="20000"/>
              <a:lumOff val="80000"/>
              <a:alpha val="69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4349123" y="2910869"/>
            <a:ext cx="967989" cy="2368916"/>
          </a:xfrm>
          <a:prstGeom prst="roundRect">
            <a:avLst>
              <a:gd name="adj" fmla="val 970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10621892" y="3008720"/>
            <a:ext cx="967989" cy="2362641"/>
          </a:xfrm>
          <a:prstGeom prst="roundRect">
            <a:avLst>
              <a:gd name="adj" fmla="val 970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8094098" y="2462779"/>
            <a:ext cx="2033926" cy="3156297"/>
          </a:xfrm>
          <a:prstGeom prst="roundRect">
            <a:avLst>
              <a:gd name="adj" fmla="val 9703"/>
            </a:avLst>
          </a:prstGeom>
          <a:solidFill>
            <a:schemeClr val="accent2">
              <a:lumMod val="20000"/>
              <a:lumOff val="80000"/>
              <a:alpha val="69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Rectangle: Rounded Corners 195">
            <a:extLst>
              <a:ext uri="{FF2B5EF4-FFF2-40B4-BE49-F238E27FC236}">
                <a16:creationId xmlns:a16="http://schemas.microsoft.com/office/drawing/2014/main" id="{81236963-1A04-48E6-84D9-5366270FF9C1}"/>
              </a:ext>
            </a:extLst>
          </p:cNvPr>
          <p:cNvSpPr/>
          <p:nvPr/>
        </p:nvSpPr>
        <p:spPr>
          <a:xfrm>
            <a:off x="5753493" y="2660281"/>
            <a:ext cx="1954541" cy="2959211"/>
          </a:xfrm>
          <a:prstGeom prst="roundRect">
            <a:avLst>
              <a:gd name="adj" fmla="val 8901"/>
            </a:avLst>
          </a:prstGeom>
          <a:solidFill>
            <a:schemeClr val="accent2">
              <a:lumMod val="20000"/>
              <a:lumOff val="80000"/>
              <a:alpha val="69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479753" y="3580313"/>
            <a:ext cx="1150413" cy="639213"/>
            <a:chOff x="7768081" y="5199086"/>
            <a:chExt cx="1691597" cy="939914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Rounded Rectangle 12"/>
            <p:cNvSpPr/>
            <p:nvPr/>
          </p:nvSpPr>
          <p:spPr>
            <a:xfrm>
              <a:off x="8280333" y="5199086"/>
              <a:ext cx="1179345" cy="82085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2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9019135" y="590087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768081" y="5314025"/>
              <a:ext cx="573321" cy="703859"/>
            </a:xfrm>
            <a:prstGeom prst="roundRect">
              <a:avLst>
                <a:gd name="adj" fmla="val 3035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8000080" y="5882176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7768082" y="5742521"/>
              <a:ext cx="1691596" cy="27680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328121" y="4646182"/>
            <a:ext cx="1452930" cy="597228"/>
            <a:chOff x="7839706" y="5087031"/>
            <a:chExt cx="2419186" cy="994409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4" name="Rounded Rectangle 23"/>
            <p:cNvSpPr/>
            <p:nvPr/>
          </p:nvSpPr>
          <p:spPr>
            <a:xfrm>
              <a:off x="8466156" y="5087031"/>
              <a:ext cx="1792736" cy="64706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7839706" y="5192750"/>
              <a:ext cx="584322" cy="68197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3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7924592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8592551" y="5885242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7839706" y="5768667"/>
              <a:ext cx="97474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8867542" y="5768666"/>
              <a:ext cx="139135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8394139" y="5886743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06793" y="3726319"/>
            <a:ext cx="1013262" cy="488168"/>
            <a:chOff x="7883182" y="5327216"/>
            <a:chExt cx="1565500" cy="754224"/>
          </a:xfrm>
          <a:solidFill>
            <a:schemeClr val="accent1">
              <a:lumMod val="75000"/>
            </a:schemeClr>
          </a:solidFill>
        </p:grpSpPr>
        <p:sp>
          <p:nvSpPr>
            <p:cNvPr id="41" name="Rounded Rectangle 56"/>
            <p:cNvSpPr/>
            <p:nvPr/>
          </p:nvSpPr>
          <p:spPr>
            <a:xfrm>
              <a:off x="7883182" y="5327216"/>
              <a:ext cx="1565500" cy="653738"/>
            </a:xfrm>
            <a:custGeom>
              <a:avLst/>
              <a:gdLst>
                <a:gd name="connsiteX0" fmla="*/ 0 w 1884890"/>
                <a:gd name="connsiteY0" fmla="*/ 160661 h 963945"/>
                <a:gd name="connsiteX1" fmla="*/ 160661 w 1884890"/>
                <a:gd name="connsiteY1" fmla="*/ 0 h 963945"/>
                <a:gd name="connsiteX2" fmla="*/ 1724229 w 1884890"/>
                <a:gd name="connsiteY2" fmla="*/ 0 h 963945"/>
                <a:gd name="connsiteX3" fmla="*/ 1884890 w 1884890"/>
                <a:gd name="connsiteY3" fmla="*/ 160661 h 963945"/>
                <a:gd name="connsiteX4" fmla="*/ 1884890 w 1884890"/>
                <a:gd name="connsiteY4" fmla="*/ 803284 h 963945"/>
                <a:gd name="connsiteX5" fmla="*/ 1724229 w 1884890"/>
                <a:gd name="connsiteY5" fmla="*/ 963945 h 963945"/>
                <a:gd name="connsiteX6" fmla="*/ 160661 w 1884890"/>
                <a:gd name="connsiteY6" fmla="*/ 963945 h 963945"/>
                <a:gd name="connsiteX7" fmla="*/ 0 w 1884890"/>
                <a:gd name="connsiteY7" fmla="*/ 803284 h 963945"/>
                <a:gd name="connsiteX8" fmla="*/ 0 w 1884890"/>
                <a:gd name="connsiteY8" fmla="*/ 160661 h 963945"/>
                <a:gd name="connsiteX0" fmla="*/ 3765 w 1888655"/>
                <a:gd name="connsiteY0" fmla="*/ 160661 h 963945"/>
                <a:gd name="connsiteX1" fmla="*/ 164426 w 1888655"/>
                <a:gd name="connsiteY1" fmla="*/ 0 h 963945"/>
                <a:gd name="connsiteX2" fmla="*/ 1727994 w 1888655"/>
                <a:gd name="connsiteY2" fmla="*/ 0 h 963945"/>
                <a:gd name="connsiteX3" fmla="*/ 1888655 w 1888655"/>
                <a:gd name="connsiteY3" fmla="*/ 160661 h 963945"/>
                <a:gd name="connsiteX4" fmla="*/ 1888655 w 1888655"/>
                <a:gd name="connsiteY4" fmla="*/ 803284 h 963945"/>
                <a:gd name="connsiteX5" fmla="*/ 1727994 w 1888655"/>
                <a:gd name="connsiteY5" fmla="*/ 963945 h 963945"/>
                <a:gd name="connsiteX6" fmla="*/ 164426 w 1888655"/>
                <a:gd name="connsiteY6" fmla="*/ 963945 h 963945"/>
                <a:gd name="connsiteX7" fmla="*/ 3765 w 1888655"/>
                <a:gd name="connsiteY7" fmla="*/ 803284 h 963945"/>
                <a:gd name="connsiteX8" fmla="*/ 0 w 1888655"/>
                <a:gd name="connsiteY8" fmla="*/ 382796 h 963945"/>
                <a:gd name="connsiteX9" fmla="*/ 3765 w 1888655"/>
                <a:gd name="connsiteY9" fmla="*/ 160661 h 963945"/>
                <a:gd name="connsiteX0" fmla="*/ 242304 w 2127194"/>
                <a:gd name="connsiteY0" fmla="*/ 160661 h 963945"/>
                <a:gd name="connsiteX1" fmla="*/ 402965 w 2127194"/>
                <a:gd name="connsiteY1" fmla="*/ 0 h 963945"/>
                <a:gd name="connsiteX2" fmla="*/ 1966533 w 2127194"/>
                <a:gd name="connsiteY2" fmla="*/ 0 h 963945"/>
                <a:gd name="connsiteX3" fmla="*/ 2127194 w 2127194"/>
                <a:gd name="connsiteY3" fmla="*/ 160661 h 963945"/>
                <a:gd name="connsiteX4" fmla="*/ 2127194 w 2127194"/>
                <a:gd name="connsiteY4" fmla="*/ 803284 h 963945"/>
                <a:gd name="connsiteX5" fmla="*/ 1966533 w 2127194"/>
                <a:gd name="connsiteY5" fmla="*/ 963945 h 963945"/>
                <a:gd name="connsiteX6" fmla="*/ 402965 w 2127194"/>
                <a:gd name="connsiteY6" fmla="*/ 963945 h 963945"/>
                <a:gd name="connsiteX7" fmla="*/ 242304 w 2127194"/>
                <a:gd name="connsiteY7" fmla="*/ 803284 h 963945"/>
                <a:gd name="connsiteX8" fmla="*/ 0 w 2127194"/>
                <a:gd name="connsiteY8" fmla="*/ 551761 h 963945"/>
                <a:gd name="connsiteX9" fmla="*/ 242304 w 2127194"/>
                <a:gd name="connsiteY9" fmla="*/ 160661 h 963945"/>
                <a:gd name="connsiteX0" fmla="*/ 447261 w 2332151"/>
                <a:gd name="connsiteY0" fmla="*/ 160661 h 963945"/>
                <a:gd name="connsiteX1" fmla="*/ 607922 w 2332151"/>
                <a:gd name="connsiteY1" fmla="*/ 0 h 963945"/>
                <a:gd name="connsiteX2" fmla="*/ 2171490 w 2332151"/>
                <a:gd name="connsiteY2" fmla="*/ 0 h 963945"/>
                <a:gd name="connsiteX3" fmla="*/ 2332151 w 2332151"/>
                <a:gd name="connsiteY3" fmla="*/ 160661 h 963945"/>
                <a:gd name="connsiteX4" fmla="*/ 2332151 w 2332151"/>
                <a:gd name="connsiteY4" fmla="*/ 803284 h 963945"/>
                <a:gd name="connsiteX5" fmla="*/ 2171490 w 2332151"/>
                <a:gd name="connsiteY5" fmla="*/ 963945 h 963945"/>
                <a:gd name="connsiteX6" fmla="*/ 607922 w 2332151"/>
                <a:gd name="connsiteY6" fmla="*/ 963945 h 963945"/>
                <a:gd name="connsiteX7" fmla="*/ 0 w 2332151"/>
                <a:gd name="connsiteY7" fmla="*/ 803284 h 963945"/>
                <a:gd name="connsiteX8" fmla="*/ 204957 w 2332151"/>
                <a:gd name="connsiteY8" fmla="*/ 551761 h 963945"/>
                <a:gd name="connsiteX9" fmla="*/ 447261 w 2332151"/>
                <a:gd name="connsiteY9" fmla="*/ 160661 h 963945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220296 w 2332151"/>
                <a:gd name="connsiteY6" fmla="*/ 973884 h 973884"/>
                <a:gd name="connsiteX7" fmla="*/ 0 w 2332151"/>
                <a:gd name="connsiteY7" fmla="*/ 803284 h 973884"/>
                <a:gd name="connsiteX8" fmla="*/ 204957 w 2332151"/>
                <a:gd name="connsiteY8" fmla="*/ 551761 h 973884"/>
                <a:gd name="connsiteX9" fmla="*/ 447261 w 2332151"/>
                <a:gd name="connsiteY9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204957 w 2332151"/>
                <a:gd name="connsiteY8" fmla="*/ 551761 h 973884"/>
                <a:gd name="connsiteX9" fmla="*/ 447261 w 2332151"/>
                <a:gd name="connsiteY9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234774 w 2332151"/>
                <a:gd name="connsiteY8" fmla="*/ 482188 h 973884"/>
                <a:gd name="connsiteX9" fmla="*/ 447261 w 2332151"/>
                <a:gd name="connsiteY9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85689 w 2332151"/>
                <a:gd name="connsiteY8" fmla="*/ 67102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45933 w 2332151"/>
                <a:gd name="connsiteY8" fmla="*/ 581572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45933 w 2332151"/>
                <a:gd name="connsiteY8" fmla="*/ 581572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13900 w 2332151"/>
                <a:gd name="connsiteY8" fmla="*/ 59904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13900 w 2332151"/>
                <a:gd name="connsiteY8" fmla="*/ 59904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13900 w 2332151"/>
                <a:gd name="connsiteY8" fmla="*/ 59904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8076 w 2332151"/>
                <a:gd name="connsiteY8" fmla="*/ 645638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8076 w 2332151"/>
                <a:gd name="connsiteY8" fmla="*/ 645638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2151" h="973884">
                  <a:moveTo>
                    <a:pt x="447261" y="160661"/>
                  </a:moveTo>
                  <a:cubicBezTo>
                    <a:pt x="499679" y="83578"/>
                    <a:pt x="577433" y="2912"/>
                    <a:pt x="666164" y="2912"/>
                  </a:cubicBezTo>
                  <a:lnTo>
                    <a:pt x="2171490" y="0"/>
                  </a:lnTo>
                  <a:cubicBezTo>
                    <a:pt x="2260221" y="0"/>
                    <a:pt x="2332151" y="71930"/>
                    <a:pt x="2332151" y="160661"/>
                  </a:cubicBezTo>
                  <a:lnTo>
                    <a:pt x="2332151" y="803284"/>
                  </a:lnTo>
                  <a:cubicBezTo>
                    <a:pt x="2332151" y="892015"/>
                    <a:pt x="2260221" y="963945"/>
                    <a:pt x="2171490" y="963945"/>
                  </a:cubicBezTo>
                  <a:lnTo>
                    <a:pt x="170601" y="973884"/>
                  </a:lnTo>
                  <a:cubicBezTo>
                    <a:pt x="81870" y="973884"/>
                    <a:pt x="0" y="892015"/>
                    <a:pt x="0" y="803284"/>
                  </a:cubicBezTo>
                  <a:cubicBezTo>
                    <a:pt x="2692" y="750735"/>
                    <a:pt x="1502" y="760311"/>
                    <a:pt x="8076" y="645638"/>
                  </a:cubicBezTo>
                  <a:cubicBezTo>
                    <a:pt x="14650" y="530965"/>
                    <a:pt x="167886" y="552340"/>
                    <a:pt x="234774" y="482188"/>
                  </a:cubicBezTo>
                  <a:lnTo>
                    <a:pt x="447261" y="16066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8083100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9023466" y="5884197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306603" y="4673453"/>
            <a:ext cx="1557726" cy="565120"/>
            <a:chOff x="7839707" y="5258986"/>
            <a:chExt cx="2419186" cy="822454"/>
          </a:xfrm>
          <a:solidFill>
            <a:schemeClr val="accent1">
              <a:lumMod val="75000"/>
            </a:schemeClr>
          </a:solidFill>
        </p:grpSpPr>
        <p:sp>
          <p:nvSpPr>
            <p:cNvPr id="45" name="Rounded Rectangle 44"/>
            <p:cNvSpPr/>
            <p:nvPr/>
          </p:nvSpPr>
          <p:spPr>
            <a:xfrm>
              <a:off x="7839707" y="5258986"/>
              <a:ext cx="2419186" cy="71529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3</a:t>
              </a:r>
            </a:p>
          </p:txBody>
        </p:sp>
        <p:sp>
          <p:nvSpPr>
            <p:cNvPr id="46" name="Oval 45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8032983" y="5877524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741257" y="2928298"/>
            <a:ext cx="864489" cy="340690"/>
            <a:chOff x="1131180" y="4934407"/>
            <a:chExt cx="1750042" cy="689681"/>
          </a:xfrm>
          <a:solidFill>
            <a:schemeClr val="accent1">
              <a:lumMod val="75000"/>
            </a:schemeClr>
          </a:solidFill>
        </p:grpSpPr>
        <p:sp>
          <p:nvSpPr>
            <p:cNvPr id="50" name="Oval 49"/>
            <p:cNvSpPr/>
            <p:nvPr/>
          </p:nvSpPr>
          <p:spPr>
            <a:xfrm>
              <a:off x="1293557" y="5335805"/>
              <a:ext cx="288282" cy="28828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Oval 50"/>
            <p:cNvSpPr/>
            <p:nvPr/>
          </p:nvSpPr>
          <p:spPr>
            <a:xfrm>
              <a:off x="2343512" y="5335804"/>
              <a:ext cx="288282" cy="28828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/>
            <p:nvPr/>
          </p:nvSpPr>
          <p:spPr>
            <a:xfrm flipH="1">
              <a:off x="1131180" y="4934407"/>
              <a:ext cx="1750042" cy="586969"/>
            </a:xfrm>
            <a:custGeom>
              <a:avLst/>
              <a:gdLst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12466 w 5933552"/>
                <a:gd name="connsiteY72" fmla="*/ 1627833 h 1934308"/>
                <a:gd name="connsiteX73" fmla="*/ 497393 w 5933552"/>
                <a:gd name="connsiteY73" fmla="*/ 1753437 h 1934308"/>
                <a:gd name="connsiteX74" fmla="*/ 507442 w 5933552"/>
                <a:gd name="connsiteY74" fmla="*/ 1833824 h 1934308"/>
                <a:gd name="connsiteX75" fmla="*/ 281354 w 5933552"/>
                <a:gd name="connsiteY75" fmla="*/ 1833824 h 1934308"/>
                <a:gd name="connsiteX76" fmla="*/ 130629 w 5933552"/>
                <a:gd name="connsiteY76" fmla="*/ 1758461 h 1934308"/>
                <a:gd name="connsiteX77" fmla="*/ 10048 w 5933552"/>
                <a:gd name="connsiteY77" fmla="*/ 1678075 h 1934308"/>
                <a:gd name="connsiteX78" fmla="*/ 0 w 5933552"/>
                <a:gd name="connsiteY78" fmla="*/ 1537398 h 1934308"/>
                <a:gd name="connsiteX79" fmla="*/ 15072 w 5933552"/>
                <a:gd name="connsiteY79" fmla="*/ 1487156 h 1934308"/>
                <a:gd name="connsiteX80" fmla="*/ 15072 w 5933552"/>
                <a:gd name="connsiteY80" fmla="*/ 1431890 h 1934308"/>
                <a:gd name="connsiteX81" fmla="*/ 25121 w 5933552"/>
                <a:gd name="connsiteY81" fmla="*/ 1381648 h 1934308"/>
                <a:gd name="connsiteX82" fmla="*/ 40193 w 5933552"/>
                <a:gd name="connsiteY82" fmla="*/ 1356527 h 1934308"/>
                <a:gd name="connsiteX83" fmla="*/ 65314 w 5933552"/>
                <a:gd name="connsiteY8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12466 w 5933552"/>
                <a:gd name="connsiteY71" fmla="*/ 1627833 h 1934308"/>
                <a:gd name="connsiteX72" fmla="*/ 497393 w 5933552"/>
                <a:gd name="connsiteY72" fmla="*/ 1753437 h 1934308"/>
                <a:gd name="connsiteX73" fmla="*/ 507442 w 5933552"/>
                <a:gd name="connsiteY73" fmla="*/ 1833824 h 1934308"/>
                <a:gd name="connsiteX74" fmla="*/ 281354 w 5933552"/>
                <a:gd name="connsiteY74" fmla="*/ 1833824 h 1934308"/>
                <a:gd name="connsiteX75" fmla="*/ 130629 w 5933552"/>
                <a:gd name="connsiteY75" fmla="*/ 1758461 h 1934308"/>
                <a:gd name="connsiteX76" fmla="*/ 10048 w 5933552"/>
                <a:gd name="connsiteY76" fmla="*/ 1678075 h 1934308"/>
                <a:gd name="connsiteX77" fmla="*/ 0 w 5933552"/>
                <a:gd name="connsiteY77" fmla="*/ 1537398 h 1934308"/>
                <a:gd name="connsiteX78" fmla="*/ 15072 w 5933552"/>
                <a:gd name="connsiteY78" fmla="*/ 1487156 h 1934308"/>
                <a:gd name="connsiteX79" fmla="*/ 15072 w 5933552"/>
                <a:gd name="connsiteY79" fmla="*/ 1431890 h 1934308"/>
                <a:gd name="connsiteX80" fmla="*/ 25121 w 5933552"/>
                <a:gd name="connsiteY80" fmla="*/ 1381648 h 1934308"/>
                <a:gd name="connsiteX81" fmla="*/ 40193 w 5933552"/>
                <a:gd name="connsiteY81" fmla="*/ 1356527 h 1934308"/>
                <a:gd name="connsiteX82" fmla="*/ 65314 w 5933552"/>
                <a:gd name="connsiteY8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497393 w 5933552"/>
                <a:gd name="connsiteY71" fmla="*/ 1753437 h 1934308"/>
                <a:gd name="connsiteX72" fmla="*/ 507442 w 5933552"/>
                <a:gd name="connsiteY72" fmla="*/ 1833824 h 1934308"/>
                <a:gd name="connsiteX73" fmla="*/ 281354 w 5933552"/>
                <a:gd name="connsiteY73" fmla="*/ 1833824 h 1934308"/>
                <a:gd name="connsiteX74" fmla="*/ 130629 w 5933552"/>
                <a:gd name="connsiteY74" fmla="*/ 1758461 h 1934308"/>
                <a:gd name="connsiteX75" fmla="*/ 10048 w 5933552"/>
                <a:gd name="connsiteY75" fmla="*/ 1678075 h 1934308"/>
                <a:gd name="connsiteX76" fmla="*/ 0 w 5933552"/>
                <a:gd name="connsiteY76" fmla="*/ 1537398 h 1934308"/>
                <a:gd name="connsiteX77" fmla="*/ 15072 w 5933552"/>
                <a:gd name="connsiteY77" fmla="*/ 1487156 h 1934308"/>
                <a:gd name="connsiteX78" fmla="*/ 15072 w 5933552"/>
                <a:gd name="connsiteY78" fmla="*/ 1431890 h 1934308"/>
                <a:gd name="connsiteX79" fmla="*/ 25121 w 5933552"/>
                <a:gd name="connsiteY79" fmla="*/ 1381648 h 1934308"/>
                <a:gd name="connsiteX80" fmla="*/ 40193 w 5933552"/>
                <a:gd name="connsiteY80" fmla="*/ 1356527 h 1934308"/>
                <a:gd name="connsiteX81" fmla="*/ 65314 w 5933552"/>
                <a:gd name="connsiteY8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07442 w 5933552"/>
                <a:gd name="connsiteY71" fmla="*/ 1833824 h 1934308"/>
                <a:gd name="connsiteX72" fmla="*/ 281354 w 5933552"/>
                <a:gd name="connsiteY72" fmla="*/ 1833824 h 1934308"/>
                <a:gd name="connsiteX73" fmla="*/ 130629 w 5933552"/>
                <a:gd name="connsiteY73" fmla="*/ 1758461 h 1934308"/>
                <a:gd name="connsiteX74" fmla="*/ 10048 w 5933552"/>
                <a:gd name="connsiteY74" fmla="*/ 1678075 h 1934308"/>
                <a:gd name="connsiteX75" fmla="*/ 0 w 5933552"/>
                <a:gd name="connsiteY75" fmla="*/ 1537398 h 1934308"/>
                <a:gd name="connsiteX76" fmla="*/ 15072 w 5933552"/>
                <a:gd name="connsiteY76" fmla="*/ 1487156 h 1934308"/>
                <a:gd name="connsiteX77" fmla="*/ 15072 w 5933552"/>
                <a:gd name="connsiteY77" fmla="*/ 1431890 h 1934308"/>
                <a:gd name="connsiteX78" fmla="*/ 25121 w 5933552"/>
                <a:gd name="connsiteY78" fmla="*/ 1381648 h 1934308"/>
                <a:gd name="connsiteX79" fmla="*/ 40193 w 5933552"/>
                <a:gd name="connsiteY79" fmla="*/ 1356527 h 1934308"/>
                <a:gd name="connsiteX80" fmla="*/ 65314 w 5933552"/>
                <a:gd name="connsiteY8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507442 w 5933552"/>
                <a:gd name="connsiteY70" fmla="*/ 1833824 h 1934308"/>
                <a:gd name="connsiteX71" fmla="*/ 281354 w 5933552"/>
                <a:gd name="connsiteY71" fmla="*/ 1833824 h 1934308"/>
                <a:gd name="connsiteX72" fmla="*/ 130629 w 5933552"/>
                <a:gd name="connsiteY72" fmla="*/ 1758461 h 1934308"/>
                <a:gd name="connsiteX73" fmla="*/ 10048 w 5933552"/>
                <a:gd name="connsiteY73" fmla="*/ 1678075 h 1934308"/>
                <a:gd name="connsiteX74" fmla="*/ 0 w 5933552"/>
                <a:gd name="connsiteY74" fmla="*/ 1537398 h 1934308"/>
                <a:gd name="connsiteX75" fmla="*/ 15072 w 5933552"/>
                <a:gd name="connsiteY75" fmla="*/ 1487156 h 1934308"/>
                <a:gd name="connsiteX76" fmla="*/ 15072 w 5933552"/>
                <a:gd name="connsiteY76" fmla="*/ 1431890 h 1934308"/>
                <a:gd name="connsiteX77" fmla="*/ 25121 w 5933552"/>
                <a:gd name="connsiteY77" fmla="*/ 1381648 h 1934308"/>
                <a:gd name="connsiteX78" fmla="*/ 40193 w 5933552"/>
                <a:gd name="connsiteY78" fmla="*/ 1356527 h 1934308"/>
                <a:gd name="connsiteX79" fmla="*/ 65314 w 5933552"/>
                <a:gd name="connsiteY7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507442 w 5933552"/>
                <a:gd name="connsiteY69" fmla="*/ 1833824 h 1934308"/>
                <a:gd name="connsiteX70" fmla="*/ 281354 w 5933552"/>
                <a:gd name="connsiteY70" fmla="*/ 1833824 h 1934308"/>
                <a:gd name="connsiteX71" fmla="*/ 130629 w 5933552"/>
                <a:gd name="connsiteY71" fmla="*/ 1758461 h 1934308"/>
                <a:gd name="connsiteX72" fmla="*/ 10048 w 5933552"/>
                <a:gd name="connsiteY72" fmla="*/ 1678075 h 1934308"/>
                <a:gd name="connsiteX73" fmla="*/ 0 w 5933552"/>
                <a:gd name="connsiteY73" fmla="*/ 1537398 h 1934308"/>
                <a:gd name="connsiteX74" fmla="*/ 15072 w 5933552"/>
                <a:gd name="connsiteY74" fmla="*/ 1487156 h 1934308"/>
                <a:gd name="connsiteX75" fmla="*/ 15072 w 5933552"/>
                <a:gd name="connsiteY75" fmla="*/ 1431890 h 1934308"/>
                <a:gd name="connsiteX76" fmla="*/ 25121 w 5933552"/>
                <a:gd name="connsiteY76" fmla="*/ 1381648 h 1934308"/>
                <a:gd name="connsiteX77" fmla="*/ 40193 w 5933552"/>
                <a:gd name="connsiteY77" fmla="*/ 1356527 h 1934308"/>
                <a:gd name="connsiteX78" fmla="*/ 65314 w 5933552"/>
                <a:gd name="connsiteY7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507442 w 5933552"/>
                <a:gd name="connsiteY68" fmla="*/ 1833824 h 1934308"/>
                <a:gd name="connsiteX69" fmla="*/ 281354 w 5933552"/>
                <a:gd name="connsiteY69" fmla="*/ 1833824 h 1934308"/>
                <a:gd name="connsiteX70" fmla="*/ 130629 w 5933552"/>
                <a:gd name="connsiteY70" fmla="*/ 1758461 h 1934308"/>
                <a:gd name="connsiteX71" fmla="*/ 10048 w 5933552"/>
                <a:gd name="connsiteY71" fmla="*/ 1678075 h 1934308"/>
                <a:gd name="connsiteX72" fmla="*/ 0 w 5933552"/>
                <a:gd name="connsiteY72" fmla="*/ 1537398 h 1934308"/>
                <a:gd name="connsiteX73" fmla="*/ 15072 w 5933552"/>
                <a:gd name="connsiteY73" fmla="*/ 1487156 h 1934308"/>
                <a:gd name="connsiteX74" fmla="*/ 15072 w 5933552"/>
                <a:gd name="connsiteY74" fmla="*/ 1431890 h 1934308"/>
                <a:gd name="connsiteX75" fmla="*/ 25121 w 5933552"/>
                <a:gd name="connsiteY75" fmla="*/ 1381648 h 1934308"/>
                <a:gd name="connsiteX76" fmla="*/ 40193 w 5933552"/>
                <a:gd name="connsiteY76" fmla="*/ 1356527 h 1934308"/>
                <a:gd name="connsiteX77" fmla="*/ 65314 w 5933552"/>
                <a:gd name="connsiteY7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562519 w 5933552"/>
                <a:gd name="connsiteY66" fmla="*/ 1462035 h 1934308"/>
                <a:gd name="connsiteX67" fmla="*/ 507442 w 5933552"/>
                <a:gd name="connsiteY67" fmla="*/ 1833824 h 1934308"/>
                <a:gd name="connsiteX68" fmla="*/ 281354 w 5933552"/>
                <a:gd name="connsiteY68" fmla="*/ 1833824 h 1934308"/>
                <a:gd name="connsiteX69" fmla="*/ 130629 w 5933552"/>
                <a:gd name="connsiteY69" fmla="*/ 1758461 h 1934308"/>
                <a:gd name="connsiteX70" fmla="*/ 10048 w 5933552"/>
                <a:gd name="connsiteY70" fmla="*/ 1678075 h 1934308"/>
                <a:gd name="connsiteX71" fmla="*/ 0 w 5933552"/>
                <a:gd name="connsiteY71" fmla="*/ 1537398 h 1934308"/>
                <a:gd name="connsiteX72" fmla="*/ 15072 w 5933552"/>
                <a:gd name="connsiteY72" fmla="*/ 1487156 h 1934308"/>
                <a:gd name="connsiteX73" fmla="*/ 15072 w 5933552"/>
                <a:gd name="connsiteY73" fmla="*/ 1431890 h 1934308"/>
                <a:gd name="connsiteX74" fmla="*/ 25121 w 5933552"/>
                <a:gd name="connsiteY74" fmla="*/ 1381648 h 1934308"/>
                <a:gd name="connsiteX75" fmla="*/ 40193 w 5933552"/>
                <a:gd name="connsiteY75" fmla="*/ 1356527 h 1934308"/>
                <a:gd name="connsiteX76" fmla="*/ 65314 w 5933552"/>
                <a:gd name="connsiteY7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562519 w 5933552"/>
                <a:gd name="connsiteY65" fmla="*/ 1462035 h 1934308"/>
                <a:gd name="connsiteX66" fmla="*/ 507442 w 5933552"/>
                <a:gd name="connsiteY66" fmla="*/ 1833824 h 1934308"/>
                <a:gd name="connsiteX67" fmla="*/ 281354 w 5933552"/>
                <a:gd name="connsiteY67" fmla="*/ 1833824 h 1934308"/>
                <a:gd name="connsiteX68" fmla="*/ 130629 w 5933552"/>
                <a:gd name="connsiteY68" fmla="*/ 1758461 h 1934308"/>
                <a:gd name="connsiteX69" fmla="*/ 10048 w 5933552"/>
                <a:gd name="connsiteY69" fmla="*/ 1678075 h 1934308"/>
                <a:gd name="connsiteX70" fmla="*/ 0 w 5933552"/>
                <a:gd name="connsiteY70" fmla="*/ 1537398 h 1934308"/>
                <a:gd name="connsiteX71" fmla="*/ 15072 w 5933552"/>
                <a:gd name="connsiteY71" fmla="*/ 1487156 h 1934308"/>
                <a:gd name="connsiteX72" fmla="*/ 15072 w 5933552"/>
                <a:gd name="connsiteY72" fmla="*/ 1431890 h 1934308"/>
                <a:gd name="connsiteX73" fmla="*/ 25121 w 5933552"/>
                <a:gd name="connsiteY73" fmla="*/ 1381648 h 1934308"/>
                <a:gd name="connsiteX74" fmla="*/ 40193 w 5933552"/>
                <a:gd name="connsiteY74" fmla="*/ 1356527 h 1934308"/>
                <a:gd name="connsiteX75" fmla="*/ 65314 w 5933552"/>
                <a:gd name="connsiteY7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35380 w 5933552"/>
                <a:gd name="connsiteY62" fmla="*/ 1919235 h 1934308"/>
                <a:gd name="connsiteX63" fmla="*/ 1688123 w 5933552"/>
                <a:gd name="connsiteY63" fmla="*/ 1899138 h 1934308"/>
                <a:gd name="connsiteX64" fmla="*/ 507442 w 5933552"/>
                <a:gd name="connsiteY64" fmla="*/ 1833824 h 1934308"/>
                <a:gd name="connsiteX65" fmla="*/ 281354 w 5933552"/>
                <a:gd name="connsiteY65" fmla="*/ 1833824 h 1934308"/>
                <a:gd name="connsiteX66" fmla="*/ 130629 w 5933552"/>
                <a:gd name="connsiteY66" fmla="*/ 1758461 h 1934308"/>
                <a:gd name="connsiteX67" fmla="*/ 10048 w 5933552"/>
                <a:gd name="connsiteY67" fmla="*/ 1678075 h 1934308"/>
                <a:gd name="connsiteX68" fmla="*/ 0 w 5933552"/>
                <a:gd name="connsiteY68" fmla="*/ 1537398 h 1934308"/>
                <a:gd name="connsiteX69" fmla="*/ 15072 w 5933552"/>
                <a:gd name="connsiteY69" fmla="*/ 1487156 h 1934308"/>
                <a:gd name="connsiteX70" fmla="*/ 15072 w 5933552"/>
                <a:gd name="connsiteY70" fmla="*/ 1431890 h 1934308"/>
                <a:gd name="connsiteX71" fmla="*/ 25121 w 5933552"/>
                <a:gd name="connsiteY71" fmla="*/ 1381648 h 1934308"/>
                <a:gd name="connsiteX72" fmla="*/ 40193 w 5933552"/>
                <a:gd name="connsiteY72" fmla="*/ 1356527 h 1934308"/>
                <a:gd name="connsiteX73" fmla="*/ 65314 w 5933552"/>
                <a:gd name="connsiteY7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919235 h 1934308"/>
                <a:gd name="connsiteX62" fmla="*/ 1688123 w 5933552"/>
                <a:gd name="connsiteY62" fmla="*/ 1899138 h 1934308"/>
                <a:gd name="connsiteX63" fmla="*/ 507442 w 5933552"/>
                <a:gd name="connsiteY63" fmla="*/ 1833824 h 1934308"/>
                <a:gd name="connsiteX64" fmla="*/ 281354 w 5933552"/>
                <a:gd name="connsiteY64" fmla="*/ 1833824 h 1934308"/>
                <a:gd name="connsiteX65" fmla="*/ 130629 w 5933552"/>
                <a:gd name="connsiteY65" fmla="*/ 1758461 h 1934308"/>
                <a:gd name="connsiteX66" fmla="*/ 10048 w 5933552"/>
                <a:gd name="connsiteY66" fmla="*/ 1678075 h 1934308"/>
                <a:gd name="connsiteX67" fmla="*/ 0 w 5933552"/>
                <a:gd name="connsiteY67" fmla="*/ 1537398 h 1934308"/>
                <a:gd name="connsiteX68" fmla="*/ 15072 w 5933552"/>
                <a:gd name="connsiteY68" fmla="*/ 1487156 h 1934308"/>
                <a:gd name="connsiteX69" fmla="*/ 15072 w 5933552"/>
                <a:gd name="connsiteY69" fmla="*/ 1431890 h 1934308"/>
                <a:gd name="connsiteX70" fmla="*/ 25121 w 5933552"/>
                <a:gd name="connsiteY70" fmla="*/ 1381648 h 1934308"/>
                <a:gd name="connsiteX71" fmla="*/ 40193 w 5933552"/>
                <a:gd name="connsiteY71" fmla="*/ 1356527 h 1934308"/>
                <a:gd name="connsiteX72" fmla="*/ 65314 w 5933552"/>
                <a:gd name="connsiteY7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35380 w 5933552"/>
                <a:gd name="connsiteY60" fmla="*/ 1919235 h 1934308"/>
                <a:gd name="connsiteX61" fmla="*/ 1688123 w 5933552"/>
                <a:gd name="connsiteY61" fmla="*/ 1899138 h 1934308"/>
                <a:gd name="connsiteX62" fmla="*/ 507442 w 5933552"/>
                <a:gd name="connsiteY62" fmla="*/ 1833824 h 1934308"/>
                <a:gd name="connsiteX63" fmla="*/ 281354 w 5933552"/>
                <a:gd name="connsiteY63" fmla="*/ 1833824 h 1934308"/>
                <a:gd name="connsiteX64" fmla="*/ 130629 w 5933552"/>
                <a:gd name="connsiteY64" fmla="*/ 1758461 h 1934308"/>
                <a:gd name="connsiteX65" fmla="*/ 10048 w 5933552"/>
                <a:gd name="connsiteY65" fmla="*/ 1678075 h 1934308"/>
                <a:gd name="connsiteX66" fmla="*/ 0 w 5933552"/>
                <a:gd name="connsiteY66" fmla="*/ 1537398 h 1934308"/>
                <a:gd name="connsiteX67" fmla="*/ 15072 w 5933552"/>
                <a:gd name="connsiteY67" fmla="*/ 1487156 h 1934308"/>
                <a:gd name="connsiteX68" fmla="*/ 15072 w 5933552"/>
                <a:gd name="connsiteY68" fmla="*/ 1431890 h 1934308"/>
                <a:gd name="connsiteX69" fmla="*/ 25121 w 5933552"/>
                <a:gd name="connsiteY69" fmla="*/ 1381648 h 1934308"/>
                <a:gd name="connsiteX70" fmla="*/ 40193 w 5933552"/>
                <a:gd name="connsiteY70" fmla="*/ 1356527 h 1934308"/>
                <a:gd name="connsiteX71" fmla="*/ 65314 w 5933552"/>
                <a:gd name="connsiteY7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235380 w 5933552"/>
                <a:gd name="connsiteY59" fmla="*/ 1919235 h 1934308"/>
                <a:gd name="connsiteX60" fmla="*/ 1688123 w 5933552"/>
                <a:gd name="connsiteY60" fmla="*/ 1899138 h 1934308"/>
                <a:gd name="connsiteX61" fmla="*/ 507442 w 5933552"/>
                <a:gd name="connsiteY61" fmla="*/ 1833824 h 1934308"/>
                <a:gd name="connsiteX62" fmla="*/ 281354 w 5933552"/>
                <a:gd name="connsiteY62" fmla="*/ 1833824 h 1934308"/>
                <a:gd name="connsiteX63" fmla="*/ 130629 w 5933552"/>
                <a:gd name="connsiteY63" fmla="*/ 1758461 h 1934308"/>
                <a:gd name="connsiteX64" fmla="*/ 10048 w 5933552"/>
                <a:gd name="connsiteY64" fmla="*/ 1678075 h 1934308"/>
                <a:gd name="connsiteX65" fmla="*/ 0 w 5933552"/>
                <a:gd name="connsiteY65" fmla="*/ 1537398 h 1934308"/>
                <a:gd name="connsiteX66" fmla="*/ 15072 w 5933552"/>
                <a:gd name="connsiteY66" fmla="*/ 1487156 h 1934308"/>
                <a:gd name="connsiteX67" fmla="*/ 15072 w 5933552"/>
                <a:gd name="connsiteY67" fmla="*/ 1431890 h 1934308"/>
                <a:gd name="connsiteX68" fmla="*/ 25121 w 5933552"/>
                <a:gd name="connsiteY68" fmla="*/ 1381648 h 1934308"/>
                <a:gd name="connsiteX69" fmla="*/ 40193 w 5933552"/>
                <a:gd name="connsiteY69" fmla="*/ 1356527 h 1934308"/>
                <a:gd name="connsiteX70" fmla="*/ 65314 w 5933552"/>
                <a:gd name="connsiteY7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235380 w 5933552"/>
                <a:gd name="connsiteY58" fmla="*/ 1919235 h 1934308"/>
                <a:gd name="connsiteX59" fmla="*/ 1688123 w 5933552"/>
                <a:gd name="connsiteY59" fmla="*/ 1899138 h 1934308"/>
                <a:gd name="connsiteX60" fmla="*/ 507442 w 5933552"/>
                <a:gd name="connsiteY60" fmla="*/ 1833824 h 1934308"/>
                <a:gd name="connsiteX61" fmla="*/ 281354 w 5933552"/>
                <a:gd name="connsiteY61" fmla="*/ 1833824 h 1934308"/>
                <a:gd name="connsiteX62" fmla="*/ 130629 w 5933552"/>
                <a:gd name="connsiteY62" fmla="*/ 1758461 h 1934308"/>
                <a:gd name="connsiteX63" fmla="*/ 10048 w 5933552"/>
                <a:gd name="connsiteY63" fmla="*/ 1678075 h 1934308"/>
                <a:gd name="connsiteX64" fmla="*/ 0 w 5933552"/>
                <a:gd name="connsiteY64" fmla="*/ 1537398 h 1934308"/>
                <a:gd name="connsiteX65" fmla="*/ 15072 w 5933552"/>
                <a:gd name="connsiteY65" fmla="*/ 1487156 h 1934308"/>
                <a:gd name="connsiteX66" fmla="*/ 15072 w 5933552"/>
                <a:gd name="connsiteY66" fmla="*/ 1431890 h 1934308"/>
                <a:gd name="connsiteX67" fmla="*/ 25121 w 5933552"/>
                <a:gd name="connsiteY67" fmla="*/ 1381648 h 1934308"/>
                <a:gd name="connsiteX68" fmla="*/ 40193 w 5933552"/>
                <a:gd name="connsiteY68" fmla="*/ 1356527 h 1934308"/>
                <a:gd name="connsiteX69" fmla="*/ 65314 w 5933552"/>
                <a:gd name="connsiteY6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235380 w 5933552"/>
                <a:gd name="connsiteY57" fmla="*/ 1919235 h 1934308"/>
                <a:gd name="connsiteX58" fmla="*/ 1688123 w 5933552"/>
                <a:gd name="connsiteY58" fmla="*/ 1899138 h 1934308"/>
                <a:gd name="connsiteX59" fmla="*/ 507442 w 5933552"/>
                <a:gd name="connsiteY59" fmla="*/ 1833824 h 1934308"/>
                <a:gd name="connsiteX60" fmla="*/ 281354 w 5933552"/>
                <a:gd name="connsiteY60" fmla="*/ 1833824 h 1934308"/>
                <a:gd name="connsiteX61" fmla="*/ 130629 w 5933552"/>
                <a:gd name="connsiteY61" fmla="*/ 1758461 h 1934308"/>
                <a:gd name="connsiteX62" fmla="*/ 10048 w 5933552"/>
                <a:gd name="connsiteY62" fmla="*/ 1678075 h 1934308"/>
                <a:gd name="connsiteX63" fmla="*/ 0 w 5933552"/>
                <a:gd name="connsiteY63" fmla="*/ 1537398 h 1934308"/>
                <a:gd name="connsiteX64" fmla="*/ 15072 w 5933552"/>
                <a:gd name="connsiteY64" fmla="*/ 1487156 h 1934308"/>
                <a:gd name="connsiteX65" fmla="*/ 15072 w 5933552"/>
                <a:gd name="connsiteY65" fmla="*/ 1431890 h 1934308"/>
                <a:gd name="connsiteX66" fmla="*/ 25121 w 5933552"/>
                <a:gd name="connsiteY66" fmla="*/ 1381648 h 1934308"/>
                <a:gd name="connsiteX67" fmla="*/ 40193 w 5933552"/>
                <a:gd name="connsiteY67" fmla="*/ 1356527 h 1934308"/>
                <a:gd name="connsiteX68" fmla="*/ 65314 w 5933552"/>
                <a:gd name="connsiteY6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235380 w 5933552"/>
                <a:gd name="connsiteY56" fmla="*/ 1919235 h 1934308"/>
                <a:gd name="connsiteX57" fmla="*/ 1688123 w 5933552"/>
                <a:gd name="connsiteY57" fmla="*/ 1899138 h 1934308"/>
                <a:gd name="connsiteX58" fmla="*/ 507442 w 5933552"/>
                <a:gd name="connsiteY58" fmla="*/ 1833824 h 1934308"/>
                <a:gd name="connsiteX59" fmla="*/ 281354 w 5933552"/>
                <a:gd name="connsiteY59" fmla="*/ 1833824 h 1934308"/>
                <a:gd name="connsiteX60" fmla="*/ 130629 w 5933552"/>
                <a:gd name="connsiteY60" fmla="*/ 1758461 h 1934308"/>
                <a:gd name="connsiteX61" fmla="*/ 10048 w 5933552"/>
                <a:gd name="connsiteY61" fmla="*/ 1678075 h 1934308"/>
                <a:gd name="connsiteX62" fmla="*/ 0 w 5933552"/>
                <a:gd name="connsiteY62" fmla="*/ 1537398 h 1934308"/>
                <a:gd name="connsiteX63" fmla="*/ 15072 w 5933552"/>
                <a:gd name="connsiteY63" fmla="*/ 1487156 h 1934308"/>
                <a:gd name="connsiteX64" fmla="*/ 15072 w 5933552"/>
                <a:gd name="connsiteY64" fmla="*/ 1431890 h 1934308"/>
                <a:gd name="connsiteX65" fmla="*/ 25121 w 5933552"/>
                <a:gd name="connsiteY65" fmla="*/ 1381648 h 1934308"/>
                <a:gd name="connsiteX66" fmla="*/ 40193 w 5933552"/>
                <a:gd name="connsiteY66" fmla="*/ 1356527 h 1934308"/>
                <a:gd name="connsiteX67" fmla="*/ 65314 w 5933552"/>
                <a:gd name="connsiteY6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235380 w 5933552"/>
                <a:gd name="connsiteY55" fmla="*/ 1919235 h 1934308"/>
                <a:gd name="connsiteX56" fmla="*/ 1688123 w 5933552"/>
                <a:gd name="connsiteY56" fmla="*/ 1899138 h 1934308"/>
                <a:gd name="connsiteX57" fmla="*/ 507442 w 5933552"/>
                <a:gd name="connsiteY57" fmla="*/ 1833824 h 1934308"/>
                <a:gd name="connsiteX58" fmla="*/ 281354 w 5933552"/>
                <a:gd name="connsiteY58" fmla="*/ 1833824 h 1934308"/>
                <a:gd name="connsiteX59" fmla="*/ 130629 w 5933552"/>
                <a:gd name="connsiteY59" fmla="*/ 1758461 h 1934308"/>
                <a:gd name="connsiteX60" fmla="*/ 10048 w 5933552"/>
                <a:gd name="connsiteY60" fmla="*/ 1678075 h 1934308"/>
                <a:gd name="connsiteX61" fmla="*/ 0 w 5933552"/>
                <a:gd name="connsiteY61" fmla="*/ 1537398 h 1934308"/>
                <a:gd name="connsiteX62" fmla="*/ 15072 w 5933552"/>
                <a:gd name="connsiteY62" fmla="*/ 1487156 h 1934308"/>
                <a:gd name="connsiteX63" fmla="*/ 15072 w 5933552"/>
                <a:gd name="connsiteY63" fmla="*/ 1431890 h 1934308"/>
                <a:gd name="connsiteX64" fmla="*/ 25121 w 5933552"/>
                <a:gd name="connsiteY64" fmla="*/ 1381648 h 1934308"/>
                <a:gd name="connsiteX65" fmla="*/ 40193 w 5933552"/>
                <a:gd name="connsiteY65" fmla="*/ 1356527 h 1934308"/>
                <a:gd name="connsiteX66" fmla="*/ 65314 w 5933552"/>
                <a:gd name="connsiteY6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4235380 w 5933552"/>
                <a:gd name="connsiteY54" fmla="*/ 1919235 h 1934308"/>
                <a:gd name="connsiteX55" fmla="*/ 1688123 w 5933552"/>
                <a:gd name="connsiteY55" fmla="*/ 1899138 h 1934308"/>
                <a:gd name="connsiteX56" fmla="*/ 507442 w 5933552"/>
                <a:gd name="connsiteY56" fmla="*/ 1833824 h 1934308"/>
                <a:gd name="connsiteX57" fmla="*/ 281354 w 5933552"/>
                <a:gd name="connsiteY57" fmla="*/ 1833824 h 1934308"/>
                <a:gd name="connsiteX58" fmla="*/ 130629 w 5933552"/>
                <a:gd name="connsiteY58" fmla="*/ 1758461 h 1934308"/>
                <a:gd name="connsiteX59" fmla="*/ 10048 w 5933552"/>
                <a:gd name="connsiteY59" fmla="*/ 1678075 h 1934308"/>
                <a:gd name="connsiteX60" fmla="*/ 0 w 5933552"/>
                <a:gd name="connsiteY60" fmla="*/ 1537398 h 1934308"/>
                <a:gd name="connsiteX61" fmla="*/ 15072 w 5933552"/>
                <a:gd name="connsiteY61" fmla="*/ 1487156 h 1934308"/>
                <a:gd name="connsiteX62" fmla="*/ 15072 w 5933552"/>
                <a:gd name="connsiteY62" fmla="*/ 1431890 h 1934308"/>
                <a:gd name="connsiteX63" fmla="*/ 25121 w 5933552"/>
                <a:gd name="connsiteY63" fmla="*/ 1381648 h 1934308"/>
                <a:gd name="connsiteX64" fmla="*/ 40193 w 5933552"/>
                <a:gd name="connsiteY64" fmla="*/ 1356527 h 1934308"/>
                <a:gd name="connsiteX65" fmla="*/ 65314 w 5933552"/>
                <a:gd name="connsiteY6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4235380 w 5933552"/>
                <a:gd name="connsiteY53" fmla="*/ 1919235 h 1934308"/>
                <a:gd name="connsiteX54" fmla="*/ 1688123 w 5933552"/>
                <a:gd name="connsiteY54" fmla="*/ 1899138 h 1934308"/>
                <a:gd name="connsiteX55" fmla="*/ 507442 w 5933552"/>
                <a:gd name="connsiteY55" fmla="*/ 1833824 h 1934308"/>
                <a:gd name="connsiteX56" fmla="*/ 281354 w 5933552"/>
                <a:gd name="connsiteY56" fmla="*/ 1833824 h 1934308"/>
                <a:gd name="connsiteX57" fmla="*/ 130629 w 5933552"/>
                <a:gd name="connsiteY57" fmla="*/ 1758461 h 1934308"/>
                <a:gd name="connsiteX58" fmla="*/ 10048 w 5933552"/>
                <a:gd name="connsiteY58" fmla="*/ 1678075 h 1934308"/>
                <a:gd name="connsiteX59" fmla="*/ 0 w 5933552"/>
                <a:gd name="connsiteY59" fmla="*/ 1537398 h 1934308"/>
                <a:gd name="connsiteX60" fmla="*/ 15072 w 5933552"/>
                <a:gd name="connsiteY60" fmla="*/ 1487156 h 1934308"/>
                <a:gd name="connsiteX61" fmla="*/ 15072 w 5933552"/>
                <a:gd name="connsiteY61" fmla="*/ 1431890 h 1934308"/>
                <a:gd name="connsiteX62" fmla="*/ 25121 w 5933552"/>
                <a:gd name="connsiteY62" fmla="*/ 1381648 h 1934308"/>
                <a:gd name="connsiteX63" fmla="*/ 40193 w 5933552"/>
                <a:gd name="connsiteY63" fmla="*/ 1356527 h 1934308"/>
                <a:gd name="connsiteX64" fmla="*/ 65314 w 5933552"/>
                <a:gd name="connsiteY6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3029578 w 5933552"/>
                <a:gd name="connsiteY23" fmla="*/ 55266 h 1934308"/>
                <a:gd name="connsiteX24" fmla="*/ 3135086 w 5933552"/>
                <a:gd name="connsiteY24" fmla="*/ 75363 h 1934308"/>
                <a:gd name="connsiteX25" fmla="*/ 3255666 w 5933552"/>
                <a:gd name="connsiteY25" fmla="*/ 95459 h 1934308"/>
                <a:gd name="connsiteX26" fmla="*/ 3542044 w 5933552"/>
                <a:gd name="connsiteY26" fmla="*/ 180870 h 1934308"/>
                <a:gd name="connsiteX27" fmla="*/ 3798277 w 5933552"/>
                <a:gd name="connsiteY27" fmla="*/ 316523 h 1934308"/>
                <a:gd name="connsiteX28" fmla="*/ 4210259 w 5933552"/>
                <a:gd name="connsiteY28" fmla="*/ 542611 h 1934308"/>
                <a:gd name="connsiteX29" fmla="*/ 4340888 w 5933552"/>
                <a:gd name="connsiteY29" fmla="*/ 622998 h 1934308"/>
                <a:gd name="connsiteX30" fmla="*/ 4381081 w 5933552"/>
                <a:gd name="connsiteY30" fmla="*/ 653143 h 1934308"/>
                <a:gd name="connsiteX31" fmla="*/ 4752870 w 5933552"/>
                <a:gd name="connsiteY31" fmla="*/ 683288 h 1934308"/>
                <a:gd name="connsiteX32" fmla="*/ 5164853 w 5933552"/>
                <a:gd name="connsiteY32" fmla="*/ 758650 h 1934308"/>
                <a:gd name="connsiteX33" fmla="*/ 5441182 w 5933552"/>
                <a:gd name="connsiteY33" fmla="*/ 823965 h 1934308"/>
                <a:gd name="connsiteX34" fmla="*/ 5612004 w 5933552"/>
                <a:gd name="connsiteY34" fmla="*/ 899327 h 1934308"/>
                <a:gd name="connsiteX35" fmla="*/ 5807947 w 5933552"/>
                <a:gd name="connsiteY35" fmla="*/ 1045028 h 1934308"/>
                <a:gd name="connsiteX36" fmla="*/ 5823020 w 5933552"/>
                <a:gd name="connsiteY36" fmla="*/ 1115367 h 1934308"/>
                <a:gd name="connsiteX37" fmla="*/ 5838092 w 5933552"/>
                <a:gd name="connsiteY37" fmla="*/ 1215850 h 1934308"/>
                <a:gd name="connsiteX38" fmla="*/ 5823020 w 5933552"/>
                <a:gd name="connsiteY38" fmla="*/ 1245995 h 1934308"/>
                <a:gd name="connsiteX39" fmla="*/ 5863213 w 5933552"/>
                <a:gd name="connsiteY39" fmla="*/ 1296237 h 1934308"/>
                <a:gd name="connsiteX40" fmla="*/ 5893358 w 5933552"/>
                <a:gd name="connsiteY40" fmla="*/ 1356527 h 1934308"/>
                <a:gd name="connsiteX41" fmla="*/ 5893358 w 5933552"/>
                <a:gd name="connsiteY41" fmla="*/ 1431890 h 1934308"/>
                <a:gd name="connsiteX42" fmla="*/ 5928527 w 5933552"/>
                <a:gd name="connsiteY42" fmla="*/ 1492180 h 1934308"/>
                <a:gd name="connsiteX43" fmla="*/ 5918479 w 5933552"/>
                <a:gd name="connsiteY43" fmla="*/ 1602712 h 1934308"/>
                <a:gd name="connsiteX44" fmla="*/ 5898382 w 5933552"/>
                <a:gd name="connsiteY44" fmla="*/ 1683099 h 1934308"/>
                <a:gd name="connsiteX45" fmla="*/ 5918479 w 5933552"/>
                <a:gd name="connsiteY45" fmla="*/ 1773534 h 1934308"/>
                <a:gd name="connsiteX46" fmla="*/ 5933552 w 5933552"/>
                <a:gd name="connsiteY46" fmla="*/ 1808703 h 1934308"/>
                <a:gd name="connsiteX47" fmla="*/ 5812971 w 5933552"/>
                <a:gd name="connsiteY47" fmla="*/ 1868993 h 1934308"/>
                <a:gd name="connsiteX48" fmla="*/ 5812971 w 5933552"/>
                <a:gd name="connsiteY48" fmla="*/ 1868993 h 1934308"/>
                <a:gd name="connsiteX49" fmla="*/ 5727560 w 5933552"/>
                <a:gd name="connsiteY49" fmla="*/ 1929283 h 1934308"/>
                <a:gd name="connsiteX50" fmla="*/ 5390941 w 5933552"/>
                <a:gd name="connsiteY50" fmla="*/ 1934308 h 1934308"/>
                <a:gd name="connsiteX51" fmla="*/ 4235380 w 5933552"/>
                <a:gd name="connsiteY51" fmla="*/ 1919235 h 1934308"/>
                <a:gd name="connsiteX52" fmla="*/ 1688123 w 5933552"/>
                <a:gd name="connsiteY52" fmla="*/ 1899138 h 1934308"/>
                <a:gd name="connsiteX53" fmla="*/ 507442 w 5933552"/>
                <a:gd name="connsiteY53" fmla="*/ 1833824 h 1934308"/>
                <a:gd name="connsiteX54" fmla="*/ 281354 w 5933552"/>
                <a:gd name="connsiteY54" fmla="*/ 1833824 h 1934308"/>
                <a:gd name="connsiteX55" fmla="*/ 130629 w 5933552"/>
                <a:gd name="connsiteY55" fmla="*/ 1758461 h 1934308"/>
                <a:gd name="connsiteX56" fmla="*/ 10048 w 5933552"/>
                <a:gd name="connsiteY56" fmla="*/ 1678075 h 1934308"/>
                <a:gd name="connsiteX57" fmla="*/ 0 w 5933552"/>
                <a:gd name="connsiteY57" fmla="*/ 1537398 h 1934308"/>
                <a:gd name="connsiteX58" fmla="*/ 15072 w 5933552"/>
                <a:gd name="connsiteY58" fmla="*/ 1487156 h 1934308"/>
                <a:gd name="connsiteX59" fmla="*/ 15072 w 5933552"/>
                <a:gd name="connsiteY59" fmla="*/ 1431890 h 1934308"/>
                <a:gd name="connsiteX60" fmla="*/ 25121 w 5933552"/>
                <a:gd name="connsiteY60" fmla="*/ 1381648 h 1934308"/>
                <a:gd name="connsiteX61" fmla="*/ 40193 w 5933552"/>
                <a:gd name="connsiteY61" fmla="*/ 1356527 h 1934308"/>
                <a:gd name="connsiteX62" fmla="*/ 65314 w 5933552"/>
                <a:gd name="connsiteY62" fmla="*/ 1311310 h 1934308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312804 w 5933552"/>
                <a:gd name="connsiteY51" fmla="*/ 1552761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50907"/>
                <a:gd name="connsiteX1" fmla="*/ 75363 w 5933552"/>
                <a:gd name="connsiteY1" fmla="*/ 1083259 h 1950907"/>
                <a:gd name="connsiteX2" fmla="*/ 45218 w 5933552"/>
                <a:gd name="connsiteY2" fmla="*/ 1073210 h 1950907"/>
                <a:gd name="connsiteX3" fmla="*/ 95459 w 5933552"/>
                <a:gd name="connsiteY3" fmla="*/ 887316 h 1950907"/>
                <a:gd name="connsiteX4" fmla="*/ 80387 w 5933552"/>
                <a:gd name="connsiteY4" fmla="*/ 771760 h 1950907"/>
                <a:gd name="connsiteX5" fmla="*/ 85411 w 5933552"/>
                <a:gd name="connsiteY5" fmla="*/ 716494 h 1950907"/>
                <a:gd name="connsiteX6" fmla="*/ 105508 w 5933552"/>
                <a:gd name="connsiteY6" fmla="*/ 696397 h 1950907"/>
                <a:gd name="connsiteX7" fmla="*/ 135653 w 5933552"/>
                <a:gd name="connsiteY7" fmla="*/ 676300 h 1950907"/>
                <a:gd name="connsiteX8" fmla="*/ 467248 w 5933552"/>
                <a:gd name="connsiteY8" fmla="*/ 329632 h 1950907"/>
                <a:gd name="connsiteX9" fmla="*/ 472272 w 5933552"/>
                <a:gd name="connsiteY9" fmla="*/ 284415 h 1950907"/>
                <a:gd name="connsiteX10" fmla="*/ 442127 w 5933552"/>
                <a:gd name="connsiteY10" fmla="*/ 259294 h 1950907"/>
                <a:gd name="connsiteX11" fmla="*/ 406958 w 5933552"/>
                <a:gd name="connsiteY11" fmla="*/ 229149 h 1950907"/>
                <a:gd name="connsiteX12" fmla="*/ 406958 w 5933552"/>
                <a:gd name="connsiteY12" fmla="*/ 204028 h 1950907"/>
                <a:gd name="connsiteX13" fmla="*/ 462224 w 5933552"/>
                <a:gd name="connsiteY13" fmla="*/ 193980 h 1950907"/>
                <a:gd name="connsiteX14" fmla="*/ 864158 w 5933552"/>
                <a:gd name="connsiteY14" fmla="*/ 143738 h 1950907"/>
                <a:gd name="connsiteX15" fmla="*/ 999811 w 5933552"/>
                <a:gd name="connsiteY15" fmla="*/ 88472 h 1950907"/>
                <a:gd name="connsiteX16" fmla="*/ 1024932 w 5933552"/>
                <a:gd name="connsiteY16" fmla="*/ 78424 h 1950907"/>
                <a:gd name="connsiteX17" fmla="*/ 999811 w 5933552"/>
                <a:gd name="connsiteY17" fmla="*/ 28182 h 1950907"/>
                <a:gd name="connsiteX18" fmla="*/ 1070149 w 5933552"/>
                <a:gd name="connsiteY18" fmla="*/ 33206 h 1950907"/>
                <a:gd name="connsiteX19" fmla="*/ 1130439 w 5933552"/>
                <a:gd name="connsiteY19" fmla="*/ 53303 h 1950907"/>
                <a:gd name="connsiteX20" fmla="*/ 1160585 w 5933552"/>
                <a:gd name="connsiteY20" fmla="*/ 63351 h 1950907"/>
                <a:gd name="connsiteX21" fmla="*/ 1683099 w 5933552"/>
                <a:gd name="connsiteY21" fmla="*/ 13109 h 1950907"/>
                <a:gd name="connsiteX22" fmla="*/ 2306097 w 5933552"/>
                <a:gd name="connsiteY22" fmla="*/ 3061 h 1950907"/>
                <a:gd name="connsiteX23" fmla="*/ 3029578 w 5933552"/>
                <a:gd name="connsiteY23" fmla="*/ 58327 h 1950907"/>
                <a:gd name="connsiteX24" fmla="*/ 3135086 w 5933552"/>
                <a:gd name="connsiteY24" fmla="*/ 78424 h 1950907"/>
                <a:gd name="connsiteX25" fmla="*/ 3255666 w 5933552"/>
                <a:gd name="connsiteY25" fmla="*/ 98520 h 1950907"/>
                <a:gd name="connsiteX26" fmla="*/ 3542044 w 5933552"/>
                <a:gd name="connsiteY26" fmla="*/ 183931 h 1950907"/>
                <a:gd name="connsiteX27" fmla="*/ 3798277 w 5933552"/>
                <a:gd name="connsiteY27" fmla="*/ 319584 h 1950907"/>
                <a:gd name="connsiteX28" fmla="*/ 4210259 w 5933552"/>
                <a:gd name="connsiteY28" fmla="*/ 545672 h 1950907"/>
                <a:gd name="connsiteX29" fmla="*/ 4340888 w 5933552"/>
                <a:gd name="connsiteY29" fmla="*/ 626059 h 1950907"/>
                <a:gd name="connsiteX30" fmla="*/ 4381081 w 5933552"/>
                <a:gd name="connsiteY30" fmla="*/ 656204 h 1950907"/>
                <a:gd name="connsiteX31" fmla="*/ 4752870 w 5933552"/>
                <a:gd name="connsiteY31" fmla="*/ 686349 h 1950907"/>
                <a:gd name="connsiteX32" fmla="*/ 5164853 w 5933552"/>
                <a:gd name="connsiteY32" fmla="*/ 761711 h 1950907"/>
                <a:gd name="connsiteX33" fmla="*/ 5441182 w 5933552"/>
                <a:gd name="connsiteY33" fmla="*/ 827026 h 1950907"/>
                <a:gd name="connsiteX34" fmla="*/ 5612004 w 5933552"/>
                <a:gd name="connsiteY34" fmla="*/ 902388 h 1950907"/>
                <a:gd name="connsiteX35" fmla="*/ 5807947 w 5933552"/>
                <a:gd name="connsiteY35" fmla="*/ 1048089 h 1950907"/>
                <a:gd name="connsiteX36" fmla="*/ 5823020 w 5933552"/>
                <a:gd name="connsiteY36" fmla="*/ 1118428 h 1950907"/>
                <a:gd name="connsiteX37" fmla="*/ 5838092 w 5933552"/>
                <a:gd name="connsiteY37" fmla="*/ 1218911 h 1950907"/>
                <a:gd name="connsiteX38" fmla="*/ 5823020 w 5933552"/>
                <a:gd name="connsiteY38" fmla="*/ 1249056 h 1950907"/>
                <a:gd name="connsiteX39" fmla="*/ 5863213 w 5933552"/>
                <a:gd name="connsiteY39" fmla="*/ 1299298 h 1950907"/>
                <a:gd name="connsiteX40" fmla="*/ 5893358 w 5933552"/>
                <a:gd name="connsiteY40" fmla="*/ 1359588 h 1950907"/>
                <a:gd name="connsiteX41" fmla="*/ 5893358 w 5933552"/>
                <a:gd name="connsiteY41" fmla="*/ 1434951 h 1950907"/>
                <a:gd name="connsiteX42" fmla="*/ 5928527 w 5933552"/>
                <a:gd name="connsiteY42" fmla="*/ 1495241 h 1950907"/>
                <a:gd name="connsiteX43" fmla="*/ 5918479 w 5933552"/>
                <a:gd name="connsiteY43" fmla="*/ 1605773 h 1950907"/>
                <a:gd name="connsiteX44" fmla="*/ 5898382 w 5933552"/>
                <a:gd name="connsiteY44" fmla="*/ 1686160 h 1950907"/>
                <a:gd name="connsiteX45" fmla="*/ 5918479 w 5933552"/>
                <a:gd name="connsiteY45" fmla="*/ 1776595 h 1950907"/>
                <a:gd name="connsiteX46" fmla="*/ 5933552 w 5933552"/>
                <a:gd name="connsiteY46" fmla="*/ 1811764 h 1950907"/>
                <a:gd name="connsiteX47" fmla="*/ 5812971 w 5933552"/>
                <a:gd name="connsiteY47" fmla="*/ 1872054 h 1950907"/>
                <a:gd name="connsiteX48" fmla="*/ 5812971 w 5933552"/>
                <a:gd name="connsiteY48" fmla="*/ 1872054 h 1950907"/>
                <a:gd name="connsiteX49" fmla="*/ 5727560 w 5933552"/>
                <a:gd name="connsiteY49" fmla="*/ 1932344 h 1950907"/>
                <a:gd name="connsiteX50" fmla="*/ 5390941 w 5933552"/>
                <a:gd name="connsiteY50" fmla="*/ 1937369 h 1950907"/>
                <a:gd name="connsiteX51" fmla="*/ 5241231 w 5933552"/>
                <a:gd name="connsiteY51" fmla="*/ 1950907 h 1950907"/>
                <a:gd name="connsiteX52" fmla="*/ 4235380 w 5933552"/>
                <a:gd name="connsiteY52" fmla="*/ 1922296 h 1950907"/>
                <a:gd name="connsiteX53" fmla="*/ 1657301 w 5933552"/>
                <a:gd name="connsiteY53" fmla="*/ 1891925 h 1950907"/>
                <a:gd name="connsiteX54" fmla="*/ 507442 w 5933552"/>
                <a:gd name="connsiteY54" fmla="*/ 1836885 h 1950907"/>
                <a:gd name="connsiteX55" fmla="*/ 281354 w 5933552"/>
                <a:gd name="connsiteY55" fmla="*/ 1836885 h 1950907"/>
                <a:gd name="connsiteX56" fmla="*/ 130629 w 5933552"/>
                <a:gd name="connsiteY56" fmla="*/ 1761522 h 1950907"/>
                <a:gd name="connsiteX57" fmla="*/ 10048 w 5933552"/>
                <a:gd name="connsiteY57" fmla="*/ 1681136 h 1950907"/>
                <a:gd name="connsiteX58" fmla="*/ 0 w 5933552"/>
                <a:gd name="connsiteY58" fmla="*/ 1540459 h 1950907"/>
                <a:gd name="connsiteX59" fmla="*/ 15072 w 5933552"/>
                <a:gd name="connsiteY59" fmla="*/ 1490217 h 1950907"/>
                <a:gd name="connsiteX60" fmla="*/ 15072 w 5933552"/>
                <a:gd name="connsiteY60" fmla="*/ 1434951 h 1950907"/>
                <a:gd name="connsiteX61" fmla="*/ 25121 w 5933552"/>
                <a:gd name="connsiteY61" fmla="*/ 1384709 h 1950907"/>
                <a:gd name="connsiteX62" fmla="*/ 40193 w 5933552"/>
                <a:gd name="connsiteY62" fmla="*/ 1359588 h 1950907"/>
                <a:gd name="connsiteX63" fmla="*/ 65314 w 5933552"/>
                <a:gd name="connsiteY63" fmla="*/ 1314371 h 1950907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373414 w 5933552"/>
                <a:gd name="connsiteY52" fmla="*/ 1917320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2179673"/>
                <a:gd name="connsiteX1" fmla="*/ 75363 w 5933552"/>
                <a:gd name="connsiteY1" fmla="*/ 1083259 h 2179673"/>
                <a:gd name="connsiteX2" fmla="*/ 45218 w 5933552"/>
                <a:gd name="connsiteY2" fmla="*/ 1073210 h 2179673"/>
                <a:gd name="connsiteX3" fmla="*/ 95459 w 5933552"/>
                <a:gd name="connsiteY3" fmla="*/ 887316 h 2179673"/>
                <a:gd name="connsiteX4" fmla="*/ 80387 w 5933552"/>
                <a:gd name="connsiteY4" fmla="*/ 771760 h 2179673"/>
                <a:gd name="connsiteX5" fmla="*/ 85411 w 5933552"/>
                <a:gd name="connsiteY5" fmla="*/ 716494 h 2179673"/>
                <a:gd name="connsiteX6" fmla="*/ 105508 w 5933552"/>
                <a:gd name="connsiteY6" fmla="*/ 696397 h 2179673"/>
                <a:gd name="connsiteX7" fmla="*/ 135653 w 5933552"/>
                <a:gd name="connsiteY7" fmla="*/ 676300 h 2179673"/>
                <a:gd name="connsiteX8" fmla="*/ 467248 w 5933552"/>
                <a:gd name="connsiteY8" fmla="*/ 329632 h 2179673"/>
                <a:gd name="connsiteX9" fmla="*/ 472272 w 5933552"/>
                <a:gd name="connsiteY9" fmla="*/ 284415 h 2179673"/>
                <a:gd name="connsiteX10" fmla="*/ 442127 w 5933552"/>
                <a:gd name="connsiteY10" fmla="*/ 259294 h 2179673"/>
                <a:gd name="connsiteX11" fmla="*/ 406958 w 5933552"/>
                <a:gd name="connsiteY11" fmla="*/ 229149 h 2179673"/>
                <a:gd name="connsiteX12" fmla="*/ 406958 w 5933552"/>
                <a:gd name="connsiteY12" fmla="*/ 204028 h 2179673"/>
                <a:gd name="connsiteX13" fmla="*/ 462224 w 5933552"/>
                <a:gd name="connsiteY13" fmla="*/ 193980 h 2179673"/>
                <a:gd name="connsiteX14" fmla="*/ 864158 w 5933552"/>
                <a:gd name="connsiteY14" fmla="*/ 143738 h 2179673"/>
                <a:gd name="connsiteX15" fmla="*/ 999811 w 5933552"/>
                <a:gd name="connsiteY15" fmla="*/ 88472 h 2179673"/>
                <a:gd name="connsiteX16" fmla="*/ 1024932 w 5933552"/>
                <a:gd name="connsiteY16" fmla="*/ 78424 h 2179673"/>
                <a:gd name="connsiteX17" fmla="*/ 999811 w 5933552"/>
                <a:gd name="connsiteY17" fmla="*/ 28182 h 2179673"/>
                <a:gd name="connsiteX18" fmla="*/ 1070149 w 5933552"/>
                <a:gd name="connsiteY18" fmla="*/ 33206 h 2179673"/>
                <a:gd name="connsiteX19" fmla="*/ 1130439 w 5933552"/>
                <a:gd name="connsiteY19" fmla="*/ 53303 h 2179673"/>
                <a:gd name="connsiteX20" fmla="*/ 1160585 w 5933552"/>
                <a:gd name="connsiteY20" fmla="*/ 63351 h 2179673"/>
                <a:gd name="connsiteX21" fmla="*/ 1683099 w 5933552"/>
                <a:gd name="connsiteY21" fmla="*/ 13109 h 2179673"/>
                <a:gd name="connsiteX22" fmla="*/ 2306097 w 5933552"/>
                <a:gd name="connsiteY22" fmla="*/ 3061 h 2179673"/>
                <a:gd name="connsiteX23" fmla="*/ 3029578 w 5933552"/>
                <a:gd name="connsiteY23" fmla="*/ 58327 h 2179673"/>
                <a:gd name="connsiteX24" fmla="*/ 3135086 w 5933552"/>
                <a:gd name="connsiteY24" fmla="*/ 78424 h 2179673"/>
                <a:gd name="connsiteX25" fmla="*/ 3255666 w 5933552"/>
                <a:gd name="connsiteY25" fmla="*/ 98520 h 2179673"/>
                <a:gd name="connsiteX26" fmla="*/ 3542044 w 5933552"/>
                <a:gd name="connsiteY26" fmla="*/ 183931 h 2179673"/>
                <a:gd name="connsiteX27" fmla="*/ 3798277 w 5933552"/>
                <a:gd name="connsiteY27" fmla="*/ 319584 h 2179673"/>
                <a:gd name="connsiteX28" fmla="*/ 4210259 w 5933552"/>
                <a:gd name="connsiteY28" fmla="*/ 545672 h 2179673"/>
                <a:gd name="connsiteX29" fmla="*/ 4340888 w 5933552"/>
                <a:gd name="connsiteY29" fmla="*/ 626059 h 2179673"/>
                <a:gd name="connsiteX30" fmla="*/ 4381081 w 5933552"/>
                <a:gd name="connsiteY30" fmla="*/ 656204 h 2179673"/>
                <a:gd name="connsiteX31" fmla="*/ 4752870 w 5933552"/>
                <a:gd name="connsiteY31" fmla="*/ 686349 h 2179673"/>
                <a:gd name="connsiteX32" fmla="*/ 5164853 w 5933552"/>
                <a:gd name="connsiteY32" fmla="*/ 761711 h 2179673"/>
                <a:gd name="connsiteX33" fmla="*/ 5441182 w 5933552"/>
                <a:gd name="connsiteY33" fmla="*/ 827026 h 2179673"/>
                <a:gd name="connsiteX34" fmla="*/ 5612004 w 5933552"/>
                <a:gd name="connsiteY34" fmla="*/ 902388 h 2179673"/>
                <a:gd name="connsiteX35" fmla="*/ 5807947 w 5933552"/>
                <a:gd name="connsiteY35" fmla="*/ 1048089 h 2179673"/>
                <a:gd name="connsiteX36" fmla="*/ 5823020 w 5933552"/>
                <a:gd name="connsiteY36" fmla="*/ 1118428 h 2179673"/>
                <a:gd name="connsiteX37" fmla="*/ 5838092 w 5933552"/>
                <a:gd name="connsiteY37" fmla="*/ 1218911 h 2179673"/>
                <a:gd name="connsiteX38" fmla="*/ 5823020 w 5933552"/>
                <a:gd name="connsiteY38" fmla="*/ 1249056 h 2179673"/>
                <a:gd name="connsiteX39" fmla="*/ 5863213 w 5933552"/>
                <a:gd name="connsiteY39" fmla="*/ 1299298 h 2179673"/>
                <a:gd name="connsiteX40" fmla="*/ 5893358 w 5933552"/>
                <a:gd name="connsiteY40" fmla="*/ 1359588 h 2179673"/>
                <a:gd name="connsiteX41" fmla="*/ 5893358 w 5933552"/>
                <a:gd name="connsiteY41" fmla="*/ 1434951 h 2179673"/>
                <a:gd name="connsiteX42" fmla="*/ 5928527 w 5933552"/>
                <a:gd name="connsiteY42" fmla="*/ 1495241 h 2179673"/>
                <a:gd name="connsiteX43" fmla="*/ 5918479 w 5933552"/>
                <a:gd name="connsiteY43" fmla="*/ 1605773 h 2179673"/>
                <a:gd name="connsiteX44" fmla="*/ 5898382 w 5933552"/>
                <a:gd name="connsiteY44" fmla="*/ 1686160 h 2179673"/>
                <a:gd name="connsiteX45" fmla="*/ 5918479 w 5933552"/>
                <a:gd name="connsiteY45" fmla="*/ 1776595 h 2179673"/>
                <a:gd name="connsiteX46" fmla="*/ 5933552 w 5933552"/>
                <a:gd name="connsiteY46" fmla="*/ 1811764 h 2179673"/>
                <a:gd name="connsiteX47" fmla="*/ 5812971 w 5933552"/>
                <a:gd name="connsiteY47" fmla="*/ 1872054 h 2179673"/>
                <a:gd name="connsiteX48" fmla="*/ 5812971 w 5933552"/>
                <a:gd name="connsiteY48" fmla="*/ 1872054 h 2179673"/>
                <a:gd name="connsiteX49" fmla="*/ 5727560 w 5933552"/>
                <a:gd name="connsiteY49" fmla="*/ 1932344 h 2179673"/>
                <a:gd name="connsiteX50" fmla="*/ 5390941 w 5933552"/>
                <a:gd name="connsiteY50" fmla="*/ 1937369 h 2179673"/>
                <a:gd name="connsiteX51" fmla="*/ 5246343 w 5933552"/>
                <a:gd name="connsiteY51" fmla="*/ 1935977 h 2179673"/>
                <a:gd name="connsiteX52" fmla="*/ 4373414 w 5933552"/>
                <a:gd name="connsiteY52" fmla="*/ 1917320 h 2179673"/>
                <a:gd name="connsiteX53" fmla="*/ 1657301 w 5933552"/>
                <a:gd name="connsiteY53" fmla="*/ 1891925 h 2179673"/>
                <a:gd name="connsiteX54" fmla="*/ 507442 w 5933552"/>
                <a:gd name="connsiteY54" fmla="*/ 1836885 h 2179673"/>
                <a:gd name="connsiteX55" fmla="*/ 281354 w 5933552"/>
                <a:gd name="connsiteY55" fmla="*/ 1836885 h 2179673"/>
                <a:gd name="connsiteX56" fmla="*/ 130629 w 5933552"/>
                <a:gd name="connsiteY56" fmla="*/ 1761522 h 2179673"/>
                <a:gd name="connsiteX57" fmla="*/ 10048 w 5933552"/>
                <a:gd name="connsiteY57" fmla="*/ 1681136 h 2179673"/>
                <a:gd name="connsiteX58" fmla="*/ 0 w 5933552"/>
                <a:gd name="connsiteY58" fmla="*/ 1540459 h 2179673"/>
                <a:gd name="connsiteX59" fmla="*/ 15072 w 5933552"/>
                <a:gd name="connsiteY59" fmla="*/ 1490217 h 2179673"/>
                <a:gd name="connsiteX60" fmla="*/ 15072 w 5933552"/>
                <a:gd name="connsiteY60" fmla="*/ 1434951 h 2179673"/>
                <a:gd name="connsiteX61" fmla="*/ 25121 w 5933552"/>
                <a:gd name="connsiteY61" fmla="*/ 1384709 h 2179673"/>
                <a:gd name="connsiteX62" fmla="*/ 40193 w 5933552"/>
                <a:gd name="connsiteY62" fmla="*/ 1359588 h 2179673"/>
                <a:gd name="connsiteX63" fmla="*/ 65314 w 5933552"/>
                <a:gd name="connsiteY63" fmla="*/ 1314371 h 21796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46343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15670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9849"/>
                <a:gd name="connsiteX1" fmla="*/ 75363 w 5933552"/>
                <a:gd name="connsiteY1" fmla="*/ 1083259 h 2219849"/>
                <a:gd name="connsiteX2" fmla="*/ 45218 w 5933552"/>
                <a:gd name="connsiteY2" fmla="*/ 1073210 h 2219849"/>
                <a:gd name="connsiteX3" fmla="*/ 95459 w 5933552"/>
                <a:gd name="connsiteY3" fmla="*/ 887316 h 2219849"/>
                <a:gd name="connsiteX4" fmla="*/ 80387 w 5933552"/>
                <a:gd name="connsiteY4" fmla="*/ 771760 h 2219849"/>
                <a:gd name="connsiteX5" fmla="*/ 85411 w 5933552"/>
                <a:gd name="connsiteY5" fmla="*/ 716494 h 2219849"/>
                <a:gd name="connsiteX6" fmla="*/ 105508 w 5933552"/>
                <a:gd name="connsiteY6" fmla="*/ 696397 h 2219849"/>
                <a:gd name="connsiteX7" fmla="*/ 135653 w 5933552"/>
                <a:gd name="connsiteY7" fmla="*/ 676300 h 2219849"/>
                <a:gd name="connsiteX8" fmla="*/ 467248 w 5933552"/>
                <a:gd name="connsiteY8" fmla="*/ 329632 h 2219849"/>
                <a:gd name="connsiteX9" fmla="*/ 472272 w 5933552"/>
                <a:gd name="connsiteY9" fmla="*/ 284415 h 2219849"/>
                <a:gd name="connsiteX10" fmla="*/ 442127 w 5933552"/>
                <a:gd name="connsiteY10" fmla="*/ 259294 h 2219849"/>
                <a:gd name="connsiteX11" fmla="*/ 406958 w 5933552"/>
                <a:gd name="connsiteY11" fmla="*/ 229149 h 2219849"/>
                <a:gd name="connsiteX12" fmla="*/ 406958 w 5933552"/>
                <a:gd name="connsiteY12" fmla="*/ 204028 h 2219849"/>
                <a:gd name="connsiteX13" fmla="*/ 462224 w 5933552"/>
                <a:gd name="connsiteY13" fmla="*/ 193980 h 2219849"/>
                <a:gd name="connsiteX14" fmla="*/ 864158 w 5933552"/>
                <a:gd name="connsiteY14" fmla="*/ 143738 h 2219849"/>
                <a:gd name="connsiteX15" fmla="*/ 999811 w 5933552"/>
                <a:gd name="connsiteY15" fmla="*/ 88472 h 2219849"/>
                <a:gd name="connsiteX16" fmla="*/ 1024932 w 5933552"/>
                <a:gd name="connsiteY16" fmla="*/ 78424 h 2219849"/>
                <a:gd name="connsiteX17" fmla="*/ 999811 w 5933552"/>
                <a:gd name="connsiteY17" fmla="*/ 28182 h 2219849"/>
                <a:gd name="connsiteX18" fmla="*/ 1070149 w 5933552"/>
                <a:gd name="connsiteY18" fmla="*/ 33206 h 2219849"/>
                <a:gd name="connsiteX19" fmla="*/ 1130439 w 5933552"/>
                <a:gd name="connsiteY19" fmla="*/ 53303 h 2219849"/>
                <a:gd name="connsiteX20" fmla="*/ 1160585 w 5933552"/>
                <a:gd name="connsiteY20" fmla="*/ 63351 h 2219849"/>
                <a:gd name="connsiteX21" fmla="*/ 1683099 w 5933552"/>
                <a:gd name="connsiteY21" fmla="*/ 13109 h 2219849"/>
                <a:gd name="connsiteX22" fmla="*/ 2306097 w 5933552"/>
                <a:gd name="connsiteY22" fmla="*/ 3061 h 2219849"/>
                <a:gd name="connsiteX23" fmla="*/ 3029578 w 5933552"/>
                <a:gd name="connsiteY23" fmla="*/ 58327 h 2219849"/>
                <a:gd name="connsiteX24" fmla="*/ 3135086 w 5933552"/>
                <a:gd name="connsiteY24" fmla="*/ 78424 h 2219849"/>
                <a:gd name="connsiteX25" fmla="*/ 3255666 w 5933552"/>
                <a:gd name="connsiteY25" fmla="*/ 98520 h 2219849"/>
                <a:gd name="connsiteX26" fmla="*/ 3542044 w 5933552"/>
                <a:gd name="connsiteY26" fmla="*/ 183931 h 2219849"/>
                <a:gd name="connsiteX27" fmla="*/ 3798277 w 5933552"/>
                <a:gd name="connsiteY27" fmla="*/ 319584 h 2219849"/>
                <a:gd name="connsiteX28" fmla="*/ 4210259 w 5933552"/>
                <a:gd name="connsiteY28" fmla="*/ 545672 h 2219849"/>
                <a:gd name="connsiteX29" fmla="*/ 4340888 w 5933552"/>
                <a:gd name="connsiteY29" fmla="*/ 626059 h 2219849"/>
                <a:gd name="connsiteX30" fmla="*/ 4381081 w 5933552"/>
                <a:gd name="connsiteY30" fmla="*/ 656204 h 2219849"/>
                <a:gd name="connsiteX31" fmla="*/ 4752870 w 5933552"/>
                <a:gd name="connsiteY31" fmla="*/ 686349 h 2219849"/>
                <a:gd name="connsiteX32" fmla="*/ 5164853 w 5933552"/>
                <a:gd name="connsiteY32" fmla="*/ 761711 h 2219849"/>
                <a:gd name="connsiteX33" fmla="*/ 5441182 w 5933552"/>
                <a:gd name="connsiteY33" fmla="*/ 827026 h 2219849"/>
                <a:gd name="connsiteX34" fmla="*/ 5612004 w 5933552"/>
                <a:gd name="connsiteY34" fmla="*/ 902388 h 2219849"/>
                <a:gd name="connsiteX35" fmla="*/ 5807947 w 5933552"/>
                <a:gd name="connsiteY35" fmla="*/ 1048089 h 2219849"/>
                <a:gd name="connsiteX36" fmla="*/ 5823020 w 5933552"/>
                <a:gd name="connsiteY36" fmla="*/ 1118428 h 2219849"/>
                <a:gd name="connsiteX37" fmla="*/ 5838092 w 5933552"/>
                <a:gd name="connsiteY37" fmla="*/ 1218911 h 2219849"/>
                <a:gd name="connsiteX38" fmla="*/ 5823020 w 5933552"/>
                <a:gd name="connsiteY38" fmla="*/ 1249056 h 2219849"/>
                <a:gd name="connsiteX39" fmla="*/ 5863213 w 5933552"/>
                <a:gd name="connsiteY39" fmla="*/ 1299298 h 2219849"/>
                <a:gd name="connsiteX40" fmla="*/ 5893358 w 5933552"/>
                <a:gd name="connsiteY40" fmla="*/ 1359588 h 2219849"/>
                <a:gd name="connsiteX41" fmla="*/ 5893358 w 5933552"/>
                <a:gd name="connsiteY41" fmla="*/ 1434951 h 2219849"/>
                <a:gd name="connsiteX42" fmla="*/ 5928527 w 5933552"/>
                <a:gd name="connsiteY42" fmla="*/ 1495241 h 2219849"/>
                <a:gd name="connsiteX43" fmla="*/ 5918479 w 5933552"/>
                <a:gd name="connsiteY43" fmla="*/ 1605773 h 2219849"/>
                <a:gd name="connsiteX44" fmla="*/ 5898382 w 5933552"/>
                <a:gd name="connsiteY44" fmla="*/ 1686160 h 2219849"/>
                <a:gd name="connsiteX45" fmla="*/ 5918479 w 5933552"/>
                <a:gd name="connsiteY45" fmla="*/ 1776595 h 2219849"/>
                <a:gd name="connsiteX46" fmla="*/ 5933552 w 5933552"/>
                <a:gd name="connsiteY46" fmla="*/ 1811764 h 2219849"/>
                <a:gd name="connsiteX47" fmla="*/ 5812971 w 5933552"/>
                <a:gd name="connsiteY47" fmla="*/ 1872054 h 2219849"/>
                <a:gd name="connsiteX48" fmla="*/ 5812971 w 5933552"/>
                <a:gd name="connsiteY48" fmla="*/ 1872054 h 2219849"/>
                <a:gd name="connsiteX49" fmla="*/ 5727560 w 5933552"/>
                <a:gd name="connsiteY49" fmla="*/ 1932344 h 2219849"/>
                <a:gd name="connsiteX50" fmla="*/ 5390941 w 5933552"/>
                <a:gd name="connsiteY50" fmla="*/ 1937369 h 2219849"/>
                <a:gd name="connsiteX51" fmla="*/ 5215670 w 5933552"/>
                <a:gd name="connsiteY51" fmla="*/ 1935977 h 2219849"/>
                <a:gd name="connsiteX52" fmla="*/ 4373414 w 5933552"/>
                <a:gd name="connsiteY52" fmla="*/ 1917320 h 2219849"/>
                <a:gd name="connsiteX53" fmla="*/ 1657301 w 5933552"/>
                <a:gd name="connsiteY53" fmla="*/ 1891925 h 2219849"/>
                <a:gd name="connsiteX54" fmla="*/ 507442 w 5933552"/>
                <a:gd name="connsiteY54" fmla="*/ 1836885 h 2219849"/>
                <a:gd name="connsiteX55" fmla="*/ 281354 w 5933552"/>
                <a:gd name="connsiteY55" fmla="*/ 1836885 h 2219849"/>
                <a:gd name="connsiteX56" fmla="*/ 130629 w 5933552"/>
                <a:gd name="connsiteY56" fmla="*/ 1761522 h 2219849"/>
                <a:gd name="connsiteX57" fmla="*/ 10048 w 5933552"/>
                <a:gd name="connsiteY57" fmla="*/ 1681136 h 2219849"/>
                <a:gd name="connsiteX58" fmla="*/ 0 w 5933552"/>
                <a:gd name="connsiteY58" fmla="*/ 1540459 h 2219849"/>
                <a:gd name="connsiteX59" fmla="*/ 15072 w 5933552"/>
                <a:gd name="connsiteY59" fmla="*/ 1490217 h 2219849"/>
                <a:gd name="connsiteX60" fmla="*/ 15072 w 5933552"/>
                <a:gd name="connsiteY60" fmla="*/ 1434951 h 2219849"/>
                <a:gd name="connsiteX61" fmla="*/ 25121 w 5933552"/>
                <a:gd name="connsiteY61" fmla="*/ 1384709 h 2219849"/>
                <a:gd name="connsiteX62" fmla="*/ 40193 w 5933552"/>
                <a:gd name="connsiteY62" fmla="*/ 1359588 h 2219849"/>
                <a:gd name="connsiteX63" fmla="*/ 65314 w 5933552"/>
                <a:gd name="connsiteY63" fmla="*/ 1314371 h 2219849"/>
                <a:gd name="connsiteX0" fmla="*/ 65314 w 5933552"/>
                <a:gd name="connsiteY0" fmla="*/ 1314371 h 2230378"/>
                <a:gd name="connsiteX1" fmla="*/ 75363 w 5933552"/>
                <a:gd name="connsiteY1" fmla="*/ 1083259 h 2230378"/>
                <a:gd name="connsiteX2" fmla="*/ 45218 w 5933552"/>
                <a:gd name="connsiteY2" fmla="*/ 1073210 h 2230378"/>
                <a:gd name="connsiteX3" fmla="*/ 95459 w 5933552"/>
                <a:gd name="connsiteY3" fmla="*/ 887316 h 2230378"/>
                <a:gd name="connsiteX4" fmla="*/ 80387 w 5933552"/>
                <a:gd name="connsiteY4" fmla="*/ 771760 h 2230378"/>
                <a:gd name="connsiteX5" fmla="*/ 85411 w 5933552"/>
                <a:gd name="connsiteY5" fmla="*/ 716494 h 2230378"/>
                <a:gd name="connsiteX6" fmla="*/ 105508 w 5933552"/>
                <a:gd name="connsiteY6" fmla="*/ 696397 h 2230378"/>
                <a:gd name="connsiteX7" fmla="*/ 135653 w 5933552"/>
                <a:gd name="connsiteY7" fmla="*/ 676300 h 2230378"/>
                <a:gd name="connsiteX8" fmla="*/ 467248 w 5933552"/>
                <a:gd name="connsiteY8" fmla="*/ 329632 h 2230378"/>
                <a:gd name="connsiteX9" fmla="*/ 472272 w 5933552"/>
                <a:gd name="connsiteY9" fmla="*/ 284415 h 2230378"/>
                <a:gd name="connsiteX10" fmla="*/ 442127 w 5933552"/>
                <a:gd name="connsiteY10" fmla="*/ 259294 h 2230378"/>
                <a:gd name="connsiteX11" fmla="*/ 406958 w 5933552"/>
                <a:gd name="connsiteY11" fmla="*/ 229149 h 2230378"/>
                <a:gd name="connsiteX12" fmla="*/ 406958 w 5933552"/>
                <a:gd name="connsiteY12" fmla="*/ 204028 h 2230378"/>
                <a:gd name="connsiteX13" fmla="*/ 462224 w 5933552"/>
                <a:gd name="connsiteY13" fmla="*/ 193980 h 2230378"/>
                <a:gd name="connsiteX14" fmla="*/ 864158 w 5933552"/>
                <a:gd name="connsiteY14" fmla="*/ 143738 h 2230378"/>
                <a:gd name="connsiteX15" fmla="*/ 999811 w 5933552"/>
                <a:gd name="connsiteY15" fmla="*/ 88472 h 2230378"/>
                <a:gd name="connsiteX16" fmla="*/ 1024932 w 5933552"/>
                <a:gd name="connsiteY16" fmla="*/ 78424 h 2230378"/>
                <a:gd name="connsiteX17" fmla="*/ 999811 w 5933552"/>
                <a:gd name="connsiteY17" fmla="*/ 28182 h 2230378"/>
                <a:gd name="connsiteX18" fmla="*/ 1070149 w 5933552"/>
                <a:gd name="connsiteY18" fmla="*/ 33206 h 2230378"/>
                <a:gd name="connsiteX19" fmla="*/ 1130439 w 5933552"/>
                <a:gd name="connsiteY19" fmla="*/ 53303 h 2230378"/>
                <a:gd name="connsiteX20" fmla="*/ 1160585 w 5933552"/>
                <a:gd name="connsiteY20" fmla="*/ 63351 h 2230378"/>
                <a:gd name="connsiteX21" fmla="*/ 1683099 w 5933552"/>
                <a:gd name="connsiteY21" fmla="*/ 13109 h 2230378"/>
                <a:gd name="connsiteX22" fmla="*/ 2306097 w 5933552"/>
                <a:gd name="connsiteY22" fmla="*/ 3061 h 2230378"/>
                <a:gd name="connsiteX23" fmla="*/ 3029578 w 5933552"/>
                <a:gd name="connsiteY23" fmla="*/ 58327 h 2230378"/>
                <a:gd name="connsiteX24" fmla="*/ 3135086 w 5933552"/>
                <a:gd name="connsiteY24" fmla="*/ 78424 h 2230378"/>
                <a:gd name="connsiteX25" fmla="*/ 3255666 w 5933552"/>
                <a:gd name="connsiteY25" fmla="*/ 98520 h 2230378"/>
                <a:gd name="connsiteX26" fmla="*/ 3542044 w 5933552"/>
                <a:gd name="connsiteY26" fmla="*/ 183931 h 2230378"/>
                <a:gd name="connsiteX27" fmla="*/ 3798277 w 5933552"/>
                <a:gd name="connsiteY27" fmla="*/ 319584 h 2230378"/>
                <a:gd name="connsiteX28" fmla="*/ 4210259 w 5933552"/>
                <a:gd name="connsiteY28" fmla="*/ 545672 h 2230378"/>
                <a:gd name="connsiteX29" fmla="*/ 4340888 w 5933552"/>
                <a:gd name="connsiteY29" fmla="*/ 626059 h 2230378"/>
                <a:gd name="connsiteX30" fmla="*/ 4381081 w 5933552"/>
                <a:gd name="connsiteY30" fmla="*/ 656204 h 2230378"/>
                <a:gd name="connsiteX31" fmla="*/ 4752870 w 5933552"/>
                <a:gd name="connsiteY31" fmla="*/ 686349 h 2230378"/>
                <a:gd name="connsiteX32" fmla="*/ 5164853 w 5933552"/>
                <a:gd name="connsiteY32" fmla="*/ 761711 h 2230378"/>
                <a:gd name="connsiteX33" fmla="*/ 5441182 w 5933552"/>
                <a:gd name="connsiteY33" fmla="*/ 827026 h 2230378"/>
                <a:gd name="connsiteX34" fmla="*/ 5612004 w 5933552"/>
                <a:gd name="connsiteY34" fmla="*/ 902388 h 2230378"/>
                <a:gd name="connsiteX35" fmla="*/ 5807947 w 5933552"/>
                <a:gd name="connsiteY35" fmla="*/ 1048089 h 2230378"/>
                <a:gd name="connsiteX36" fmla="*/ 5823020 w 5933552"/>
                <a:gd name="connsiteY36" fmla="*/ 1118428 h 2230378"/>
                <a:gd name="connsiteX37" fmla="*/ 5838092 w 5933552"/>
                <a:gd name="connsiteY37" fmla="*/ 1218911 h 2230378"/>
                <a:gd name="connsiteX38" fmla="*/ 5823020 w 5933552"/>
                <a:gd name="connsiteY38" fmla="*/ 1249056 h 2230378"/>
                <a:gd name="connsiteX39" fmla="*/ 5863213 w 5933552"/>
                <a:gd name="connsiteY39" fmla="*/ 1299298 h 2230378"/>
                <a:gd name="connsiteX40" fmla="*/ 5893358 w 5933552"/>
                <a:gd name="connsiteY40" fmla="*/ 1359588 h 2230378"/>
                <a:gd name="connsiteX41" fmla="*/ 5893358 w 5933552"/>
                <a:gd name="connsiteY41" fmla="*/ 1434951 h 2230378"/>
                <a:gd name="connsiteX42" fmla="*/ 5928527 w 5933552"/>
                <a:gd name="connsiteY42" fmla="*/ 1495241 h 2230378"/>
                <a:gd name="connsiteX43" fmla="*/ 5918479 w 5933552"/>
                <a:gd name="connsiteY43" fmla="*/ 1605773 h 2230378"/>
                <a:gd name="connsiteX44" fmla="*/ 5898382 w 5933552"/>
                <a:gd name="connsiteY44" fmla="*/ 1686160 h 2230378"/>
                <a:gd name="connsiteX45" fmla="*/ 5918479 w 5933552"/>
                <a:gd name="connsiteY45" fmla="*/ 1776595 h 2230378"/>
                <a:gd name="connsiteX46" fmla="*/ 5933552 w 5933552"/>
                <a:gd name="connsiteY46" fmla="*/ 1811764 h 2230378"/>
                <a:gd name="connsiteX47" fmla="*/ 5812971 w 5933552"/>
                <a:gd name="connsiteY47" fmla="*/ 1872054 h 2230378"/>
                <a:gd name="connsiteX48" fmla="*/ 5812971 w 5933552"/>
                <a:gd name="connsiteY48" fmla="*/ 1872054 h 2230378"/>
                <a:gd name="connsiteX49" fmla="*/ 5727560 w 5933552"/>
                <a:gd name="connsiteY49" fmla="*/ 1932344 h 2230378"/>
                <a:gd name="connsiteX50" fmla="*/ 5390941 w 5933552"/>
                <a:gd name="connsiteY50" fmla="*/ 1937369 h 2230378"/>
                <a:gd name="connsiteX51" fmla="*/ 5215670 w 5933552"/>
                <a:gd name="connsiteY51" fmla="*/ 1935977 h 2230378"/>
                <a:gd name="connsiteX52" fmla="*/ 4373414 w 5933552"/>
                <a:gd name="connsiteY52" fmla="*/ 1917320 h 2230378"/>
                <a:gd name="connsiteX53" fmla="*/ 1657301 w 5933552"/>
                <a:gd name="connsiteY53" fmla="*/ 1891925 h 2230378"/>
                <a:gd name="connsiteX54" fmla="*/ 507442 w 5933552"/>
                <a:gd name="connsiteY54" fmla="*/ 1836885 h 2230378"/>
                <a:gd name="connsiteX55" fmla="*/ 281354 w 5933552"/>
                <a:gd name="connsiteY55" fmla="*/ 1836885 h 2230378"/>
                <a:gd name="connsiteX56" fmla="*/ 130629 w 5933552"/>
                <a:gd name="connsiteY56" fmla="*/ 1761522 h 2230378"/>
                <a:gd name="connsiteX57" fmla="*/ 10048 w 5933552"/>
                <a:gd name="connsiteY57" fmla="*/ 1681136 h 2230378"/>
                <a:gd name="connsiteX58" fmla="*/ 0 w 5933552"/>
                <a:gd name="connsiteY58" fmla="*/ 1540459 h 2230378"/>
                <a:gd name="connsiteX59" fmla="*/ 15072 w 5933552"/>
                <a:gd name="connsiteY59" fmla="*/ 1490217 h 2230378"/>
                <a:gd name="connsiteX60" fmla="*/ 15072 w 5933552"/>
                <a:gd name="connsiteY60" fmla="*/ 1434951 h 2230378"/>
                <a:gd name="connsiteX61" fmla="*/ 25121 w 5933552"/>
                <a:gd name="connsiteY61" fmla="*/ 1384709 h 2230378"/>
                <a:gd name="connsiteX62" fmla="*/ 40193 w 5933552"/>
                <a:gd name="connsiteY62" fmla="*/ 1359588 h 2230378"/>
                <a:gd name="connsiteX63" fmla="*/ 65314 w 5933552"/>
                <a:gd name="connsiteY63" fmla="*/ 1314371 h 2230378"/>
                <a:gd name="connsiteX0" fmla="*/ 65314 w 5933552"/>
                <a:gd name="connsiteY0" fmla="*/ 1314371 h 2238835"/>
                <a:gd name="connsiteX1" fmla="*/ 75363 w 5933552"/>
                <a:gd name="connsiteY1" fmla="*/ 1083259 h 2238835"/>
                <a:gd name="connsiteX2" fmla="*/ 45218 w 5933552"/>
                <a:gd name="connsiteY2" fmla="*/ 1073210 h 2238835"/>
                <a:gd name="connsiteX3" fmla="*/ 95459 w 5933552"/>
                <a:gd name="connsiteY3" fmla="*/ 887316 h 2238835"/>
                <a:gd name="connsiteX4" fmla="*/ 80387 w 5933552"/>
                <a:gd name="connsiteY4" fmla="*/ 771760 h 2238835"/>
                <a:gd name="connsiteX5" fmla="*/ 85411 w 5933552"/>
                <a:gd name="connsiteY5" fmla="*/ 716494 h 2238835"/>
                <a:gd name="connsiteX6" fmla="*/ 105508 w 5933552"/>
                <a:gd name="connsiteY6" fmla="*/ 696397 h 2238835"/>
                <a:gd name="connsiteX7" fmla="*/ 135653 w 5933552"/>
                <a:gd name="connsiteY7" fmla="*/ 676300 h 2238835"/>
                <a:gd name="connsiteX8" fmla="*/ 467248 w 5933552"/>
                <a:gd name="connsiteY8" fmla="*/ 329632 h 2238835"/>
                <a:gd name="connsiteX9" fmla="*/ 472272 w 5933552"/>
                <a:gd name="connsiteY9" fmla="*/ 284415 h 2238835"/>
                <a:gd name="connsiteX10" fmla="*/ 442127 w 5933552"/>
                <a:gd name="connsiteY10" fmla="*/ 259294 h 2238835"/>
                <a:gd name="connsiteX11" fmla="*/ 406958 w 5933552"/>
                <a:gd name="connsiteY11" fmla="*/ 229149 h 2238835"/>
                <a:gd name="connsiteX12" fmla="*/ 406958 w 5933552"/>
                <a:gd name="connsiteY12" fmla="*/ 204028 h 2238835"/>
                <a:gd name="connsiteX13" fmla="*/ 462224 w 5933552"/>
                <a:gd name="connsiteY13" fmla="*/ 193980 h 2238835"/>
                <a:gd name="connsiteX14" fmla="*/ 864158 w 5933552"/>
                <a:gd name="connsiteY14" fmla="*/ 143738 h 2238835"/>
                <a:gd name="connsiteX15" fmla="*/ 999811 w 5933552"/>
                <a:gd name="connsiteY15" fmla="*/ 88472 h 2238835"/>
                <a:gd name="connsiteX16" fmla="*/ 1024932 w 5933552"/>
                <a:gd name="connsiteY16" fmla="*/ 78424 h 2238835"/>
                <a:gd name="connsiteX17" fmla="*/ 999811 w 5933552"/>
                <a:gd name="connsiteY17" fmla="*/ 28182 h 2238835"/>
                <a:gd name="connsiteX18" fmla="*/ 1070149 w 5933552"/>
                <a:gd name="connsiteY18" fmla="*/ 33206 h 2238835"/>
                <a:gd name="connsiteX19" fmla="*/ 1130439 w 5933552"/>
                <a:gd name="connsiteY19" fmla="*/ 53303 h 2238835"/>
                <a:gd name="connsiteX20" fmla="*/ 1160585 w 5933552"/>
                <a:gd name="connsiteY20" fmla="*/ 63351 h 2238835"/>
                <a:gd name="connsiteX21" fmla="*/ 1683099 w 5933552"/>
                <a:gd name="connsiteY21" fmla="*/ 13109 h 2238835"/>
                <a:gd name="connsiteX22" fmla="*/ 2306097 w 5933552"/>
                <a:gd name="connsiteY22" fmla="*/ 3061 h 2238835"/>
                <a:gd name="connsiteX23" fmla="*/ 3029578 w 5933552"/>
                <a:gd name="connsiteY23" fmla="*/ 58327 h 2238835"/>
                <a:gd name="connsiteX24" fmla="*/ 3135086 w 5933552"/>
                <a:gd name="connsiteY24" fmla="*/ 78424 h 2238835"/>
                <a:gd name="connsiteX25" fmla="*/ 3255666 w 5933552"/>
                <a:gd name="connsiteY25" fmla="*/ 98520 h 2238835"/>
                <a:gd name="connsiteX26" fmla="*/ 3542044 w 5933552"/>
                <a:gd name="connsiteY26" fmla="*/ 183931 h 2238835"/>
                <a:gd name="connsiteX27" fmla="*/ 3798277 w 5933552"/>
                <a:gd name="connsiteY27" fmla="*/ 319584 h 2238835"/>
                <a:gd name="connsiteX28" fmla="*/ 4210259 w 5933552"/>
                <a:gd name="connsiteY28" fmla="*/ 545672 h 2238835"/>
                <a:gd name="connsiteX29" fmla="*/ 4340888 w 5933552"/>
                <a:gd name="connsiteY29" fmla="*/ 626059 h 2238835"/>
                <a:gd name="connsiteX30" fmla="*/ 4381081 w 5933552"/>
                <a:gd name="connsiteY30" fmla="*/ 656204 h 2238835"/>
                <a:gd name="connsiteX31" fmla="*/ 4752870 w 5933552"/>
                <a:gd name="connsiteY31" fmla="*/ 686349 h 2238835"/>
                <a:gd name="connsiteX32" fmla="*/ 5164853 w 5933552"/>
                <a:gd name="connsiteY32" fmla="*/ 761711 h 2238835"/>
                <a:gd name="connsiteX33" fmla="*/ 5441182 w 5933552"/>
                <a:gd name="connsiteY33" fmla="*/ 827026 h 2238835"/>
                <a:gd name="connsiteX34" fmla="*/ 5612004 w 5933552"/>
                <a:gd name="connsiteY34" fmla="*/ 902388 h 2238835"/>
                <a:gd name="connsiteX35" fmla="*/ 5807947 w 5933552"/>
                <a:gd name="connsiteY35" fmla="*/ 1048089 h 2238835"/>
                <a:gd name="connsiteX36" fmla="*/ 5823020 w 5933552"/>
                <a:gd name="connsiteY36" fmla="*/ 1118428 h 2238835"/>
                <a:gd name="connsiteX37" fmla="*/ 5838092 w 5933552"/>
                <a:gd name="connsiteY37" fmla="*/ 1218911 h 2238835"/>
                <a:gd name="connsiteX38" fmla="*/ 5823020 w 5933552"/>
                <a:gd name="connsiteY38" fmla="*/ 1249056 h 2238835"/>
                <a:gd name="connsiteX39" fmla="*/ 5863213 w 5933552"/>
                <a:gd name="connsiteY39" fmla="*/ 1299298 h 2238835"/>
                <a:gd name="connsiteX40" fmla="*/ 5893358 w 5933552"/>
                <a:gd name="connsiteY40" fmla="*/ 1359588 h 2238835"/>
                <a:gd name="connsiteX41" fmla="*/ 5893358 w 5933552"/>
                <a:gd name="connsiteY41" fmla="*/ 1434951 h 2238835"/>
                <a:gd name="connsiteX42" fmla="*/ 5928527 w 5933552"/>
                <a:gd name="connsiteY42" fmla="*/ 1495241 h 2238835"/>
                <a:gd name="connsiteX43" fmla="*/ 5918479 w 5933552"/>
                <a:gd name="connsiteY43" fmla="*/ 1605773 h 2238835"/>
                <a:gd name="connsiteX44" fmla="*/ 5898382 w 5933552"/>
                <a:gd name="connsiteY44" fmla="*/ 1686160 h 2238835"/>
                <a:gd name="connsiteX45" fmla="*/ 5918479 w 5933552"/>
                <a:gd name="connsiteY45" fmla="*/ 1776595 h 2238835"/>
                <a:gd name="connsiteX46" fmla="*/ 5933552 w 5933552"/>
                <a:gd name="connsiteY46" fmla="*/ 1811764 h 2238835"/>
                <a:gd name="connsiteX47" fmla="*/ 5812971 w 5933552"/>
                <a:gd name="connsiteY47" fmla="*/ 1872054 h 2238835"/>
                <a:gd name="connsiteX48" fmla="*/ 5812971 w 5933552"/>
                <a:gd name="connsiteY48" fmla="*/ 1872054 h 2238835"/>
                <a:gd name="connsiteX49" fmla="*/ 5727560 w 5933552"/>
                <a:gd name="connsiteY49" fmla="*/ 1932344 h 2238835"/>
                <a:gd name="connsiteX50" fmla="*/ 5390941 w 5933552"/>
                <a:gd name="connsiteY50" fmla="*/ 1937369 h 2238835"/>
                <a:gd name="connsiteX51" fmla="*/ 5215670 w 5933552"/>
                <a:gd name="connsiteY51" fmla="*/ 1935977 h 2238835"/>
                <a:gd name="connsiteX52" fmla="*/ 4373414 w 5933552"/>
                <a:gd name="connsiteY52" fmla="*/ 1917320 h 2238835"/>
                <a:gd name="connsiteX53" fmla="*/ 1657301 w 5933552"/>
                <a:gd name="connsiteY53" fmla="*/ 1891925 h 2238835"/>
                <a:gd name="connsiteX54" fmla="*/ 507442 w 5933552"/>
                <a:gd name="connsiteY54" fmla="*/ 1836885 h 2238835"/>
                <a:gd name="connsiteX55" fmla="*/ 281354 w 5933552"/>
                <a:gd name="connsiteY55" fmla="*/ 1836885 h 2238835"/>
                <a:gd name="connsiteX56" fmla="*/ 130629 w 5933552"/>
                <a:gd name="connsiteY56" fmla="*/ 1761522 h 2238835"/>
                <a:gd name="connsiteX57" fmla="*/ 10048 w 5933552"/>
                <a:gd name="connsiteY57" fmla="*/ 1681136 h 2238835"/>
                <a:gd name="connsiteX58" fmla="*/ 0 w 5933552"/>
                <a:gd name="connsiteY58" fmla="*/ 1540459 h 2238835"/>
                <a:gd name="connsiteX59" fmla="*/ 15072 w 5933552"/>
                <a:gd name="connsiteY59" fmla="*/ 1490217 h 2238835"/>
                <a:gd name="connsiteX60" fmla="*/ 15072 w 5933552"/>
                <a:gd name="connsiteY60" fmla="*/ 1434951 h 2238835"/>
                <a:gd name="connsiteX61" fmla="*/ 25121 w 5933552"/>
                <a:gd name="connsiteY61" fmla="*/ 1384709 h 2238835"/>
                <a:gd name="connsiteX62" fmla="*/ 40193 w 5933552"/>
                <a:gd name="connsiteY62" fmla="*/ 1359588 h 2238835"/>
                <a:gd name="connsiteX63" fmla="*/ 65314 w 5933552"/>
                <a:gd name="connsiteY63" fmla="*/ 1314371 h 2238835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657301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382327"/>
                <a:gd name="connsiteX1" fmla="*/ 75363 w 5933552"/>
                <a:gd name="connsiteY1" fmla="*/ 1083259 h 2382327"/>
                <a:gd name="connsiteX2" fmla="*/ 45218 w 5933552"/>
                <a:gd name="connsiteY2" fmla="*/ 1073210 h 2382327"/>
                <a:gd name="connsiteX3" fmla="*/ 95459 w 5933552"/>
                <a:gd name="connsiteY3" fmla="*/ 887316 h 2382327"/>
                <a:gd name="connsiteX4" fmla="*/ 80387 w 5933552"/>
                <a:gd name="connsiteY4" fmla="*/ 771760 h 2382327"/>
                <a:gd name="connsiteX5" fmla="*/ 85411 w 5933552"/>
                <a:gd name="connsiteY5" fmla="*/ 716494 h 2382327"/>
                <a:gd name="connsiteX6" fmla="*/ 105508 w 5933552"/>
                <a:gd name="connsiteY6" fmla="*/ 696397 h 2382327"/>
                <a:gd name="connsiteX7" fmla="*/ 135653 w 5933552"/>
                <a:gd name="connsiteY7" fmla="*/ 676300 h 2382327"/>
                <a:gd name="connsiteX8" fmla="*/ 467248 w 5933552"/>
                <a:gd name="connsiteY8" fmla="*/ 329632 h 2382327"/>
                <a:gd name="connsiteX9" fmla="*/ 472272 w 5933552"/>
                <a:gd name="connsiteY9" fmla="*/ 284415 h 2382327"/>
                <a:gd name="connsiteX10" fmla="*/ 442127 w 5933552"/>
                <a:gd name="connsiteY10" fmla="*/ 259294 h 2382327"/>
                <a:gd name="connsiteX11" fmla="*/ 406958 w 5933552"/>
                <a:gd name="connsiteY11" fmla="*/ 229149 h 2382327"/>
                <a:gd name="connsiteX12" fmla="*/ 406958 w 5933552"/>
                <a:gd name="connsiteY12" fmla="*/ 204028 h 2382327"/>
                <a:gd name="connsiteX13" fmla="*/ 462224 w 5933552"/>
                <a:gd name="connsiteY13" fmla="*/ 193980 h 2382327"/>
                <a:gd name="connsiteX14" fmla="*/ 864158 w 5933552"/>
                <a:gd name="connsiteY14" fmla="*/ 143738 h 2382327"/>
                <a:gd name="connsiteX15" fmla="*/ 999811 w 5933552"/>
                <a:gd name="connsiteY15" fmla="*/ 88472 h 2382327"/>
                <a:gd name="connsiteX16" fmla="*/ 1024932 w 5933552"/>
                <a:gd name="connsiteY16" fmla="*/ 78424 h 2382327"/>
                <a:gd name="connsiteX17" fmla="*/ 999811 w 5933552"/>
                <a:gd name="connsiteY17" fmla="*/ 28182 h 2382327"/>
                <a:gd name="connsiteX18" fmla="*/ 1070149 w 5933552"/>
                <a:gd name="connsiteY18" fmla="*/ 33206 h 2382327"/>
                <a:gd name="connsiteX19" fmla="*/ 1130439 w 5933552"/>
                <a:gd name="connsiteY19" fmla="*/ 53303 h 2382327"/>
                <a:gd name="connsiteX20" fmla="*/ 1160585 w 5933552"/>
                <a:gd name="connsiteY20" fmla="*/ 63351 h 2382327"/>
                <a:gd name="connsiteX21" fmla="*/ 1683099 w 5933552"/>
                <a:gd name="connsiteY21" fmla="*/ 13109 h 2382327"/>
                <a:gd name="connsiteX22" fmla="*/ 2306097 w 5933552"/>
                <a:gd name="connsiteY22" fmla="*/ 3061 h 2382327"/>
                <a:gd name="connsiteX23" fmla="*/ 3029578 w 5933552"/>
                <a:gd name="connsiteY23" fmla="*/ 58327 h 2382327"/>
                <a:gd name="connsiteX24" fmla="*/ 3135086 w 5933552"/>
                <a:gd name="connsiteY24" fmla="*/ 78424 h 2382327"/>
                <a:gd name="connsiteX25" fmla="*/ 3255666 w 5933552"/>
                <a:gd name="connsiteY25" fmla="*/ 98520 h 2382327"/>
                <a:gd name="connsiteX26" fmla="*/ 3542044 w 5933552"/>
                <a:gd name="connsiteY26" fmla="*/ 183931 h 2382327"/>
                <a:gd name="connsiteX27" fmla="*/ 3798277 w 5933552"/>
                <a:gd name="connsiteY27" fmla="*/ 319584 h 2382327"/>
                <a:gd name="connsiteX28" fmla="*/ 4210259 w 5933552"/>
                <a:gd name="connsiteY28" fmla="*/ 545672 h 2382327"/>
                <a:gd name="connsiteX29" fmla="*/ 4340888 w 5933552"/>
                <a:gd name="connsiteY29" fmla="*/ 626059 h 2382327"/>
                <a:gd name="connsiteX30" fmla="*/ 4381081 w 5933552"/>
                <a:gd name="connsiteY30" fmla="*/ 656204 h 2382327"/>
                <a:gd name="connsiteX31" fmla="*/ 4752870 w 5933552"/>
                <a:gd name="connsiteY31" fmla="*/ 686349 h 2382327"/>
                <a:gd name="connsiteX32" fmla="*/ 5164853 w 5933552"/>
                <a:gd name="connsiteY32" fmla="*/ 761711 h 2382327"/>
                <a:gd name="connsiteX33" fmla="*/ 5441182 w 5933552"/>
                <a:gd name="connsiteY33" fmla="*/ 827026 h 2382327"/>
                <a:gd name="connsiteX34" fmla="*/ 5612004 w 5933552"/>
                <a:gd name="connsiteY34" fmla="*/ 902388 h 2382327"/>
                <a:gd name="connsiteX35" fmla="*/ 5807947 w 5933552"/>
                <a:gd name="connsiteY35" fmla="*/ 1048089 h 2382327"/>
                <a:gd name="connsiteX36" fmla="*/ 5823020 w 5933552"/>
                <a:gd name="connsiteY36" fmla="*/ 1118428 h 2382327"/>
                <a:gd name="connsiteX37" fmla="*/ 5838092 w 5933552"/>
                <a:gd name="connsiteY37" fmla="*/ 1218911 h 2382327"/>
                <a:gd name="connsiteX38" fmla="*/ 5823020 w 5933552"/>
                <a:gd name="connsiteY38" fmla="*/ 1249056 h 2382327"/>
                <a:gd name="connsiteX39" fmla="*/ 5863213 w 5933552"/>
                <a:gd name="connsiteY39" fmla="*/ 1299298 h 2382327"/>
                <a:gd name="connsiteX40" fmla="*/ 5893358 w 5933552"/>
                <a:gd name="connsiteY40" fmla="*/ 1359588 h 2382327"/>
                <a:gd name="connsiteX41" fmla="*/ 5893358 w 5933552"/>
                <a:gd name="connsiteY41" fmla="*/ 1434951 h 2382327"/>
                <a:gd name="connsiteX42" fmla="*/ 5928527 w 5933552"/>
                <a:gd name="connsiteY42" fmla="*/ 1495241 h 2382327"/>
                <a:gd name="connsiteX43" fmla="*/ 5918479 w 5933552"/>
                <a:gd name="connsiteY43" fmla="*/ 1605773 h 2382327"/>
                <a:gd name="connsiteX44" fmla="*/ 5898382 w 5933552"/>
                <a:gd name="connsiteY44" fmla="*/ 1686160 h 2382327"/>
                <a:gd name="connsiteX45" fmla="*/ 5918479 w 5933552"/>
                <a:gd name="connsiteY45" fmla="*/ 1776595 h 2382327"/>
                <a:gd name="connsiteX46" fmla="*/ 5933552 w 5933552"/>
                <a:gd name="connsiteY46" fmla="*/ 1811764 h 2382327"/>
                <a:gd name="connsiteX47" fmla="*/ 5812971 w 5933552"/>
                <a:gd name="connsiteY47" fmla="*/ 1872054 h 2382327"/>
                <a:gd name="connsiteX48" fmla="*/ 5812971 w 5933552"/>
                <a:gd name="connsiteY48" fmla="*/ 1872054 h 2382327"/>
                <a:gd name="connsiteX49" fmla="*/ 5727560 w 5933552"/>
                <a:gd name="connsiteY49" fmla="*/ 1932344 h 2382327"/>
                <a:gd name="connsiteX50" fmla="*/ 5390941 w 5933552"/>
                <a:gd name="connsiteY50" fmla="*/ 1937369 h 2382327"/>
                <a:gd name="connsiteX51" fmla="*/ 5215670 w 5933552"/>
                <a:gd name="connsiteY51" fmla="*/ 1935977 h 2382327"/>
                <a:gd name="connsiteX52" fmla="*/ 4373414 w 5933552"/>
                <a:gd name="connsiteY52" fmla="*/ 1917320 h 2382327"/>
                <a:gd name="connsiteX53" fmla="*/ 1519267 w 5933552"/>
                <a:gd name="connsiteY53" fmla="*/ 1891925 h 2382327"/>
                <a:gd name="connsiteX54" fmla="*/ 619914 w 5933552"/>
                <a:gd name="connsiteY54" fmla="*/ 1836885 h 2382327"/>
                <a:gd name="connsiteX55" fmla="*/ 281354 w 5933552"/>
                <a:gd name="connsiteY55" fmla="*/ 1836885 h 2382327"/>
                <a:gd name="connsiteX56" fmla="*/ 130629 w 5933552"/>
                <a:gd name="connsiteY56" fmla="*/ 1761522 h 2382327"/>
                <a:gd name="connsiteX57" fmla="*/ 10048 w 5933552"/>
                <a:gd name="connsiteY57" fmla="*/ 1681136 h 2382327"/>
                <a:gd name="connsiteX58" fmla="*/ 0 w 5933552"/>
                <a:gd name="connsiteY58" fmla="*/ 1540459 h 2382327"/>
                <a:gd name="connsiteX59" fmla="*/ 15072 w 5933552"/>
                <a:gd name="connsiteY59" fmla="*/ 1490217 h 2382327"/>
                <a:gd name="connsiteX60" fmla="*/ 15072 w 5933552"/>
                <a:gd name="connsiteY60" fmla="*/ 1434951 h 2382327"/>
                <a:gd name="connsiteX61" fmla="*/ 25121 w 5933552"/>
                <a:gd name="connsiteY61" fmla="*/ 1384709 h 2382327"/>
                <a:gd name="connsiteX62" fmla="*/ 40193 w 5933552"/>
                <a:gd name="connsiteY62" fmla="*/ 1359588 h 2382327"/>
                <a:gd name="connsiteX63" fmla="*/ 65314 w 5933552"/>
                <a:gd name="connsiteY63" fmla="*/ 1314371 h 2382327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993"/>
                <a:gd name="connsiteX1" fmla="*/ 75363 w 5933552"/>
                <a:gd name="connsiteY1" fmla="*/ 1083259 h 2234993"/>
                <a:gd name="connsiteX2" fmla="*/ 45218 w 5933552"/>
                <a:gd name="connsiteY2" fmla="*/ 1073210 h 2234993"/>
                <a:gd name="connsiteX3" fmla="*/ 95459 w 5933552"/>
                <a:gd name="connsiteY3" fmla="*/ 887316 h 2234993"/>
                <a:gd name="connsiteX4" fmla="*/ 80387 w 5933552"/>
                <a:gd name="connsiteY4" fmla="*/ 771760 h 2234993"/>
                <a:gd name="connsiteX5" fmla="*/ 85411 w 5933552"/>
                <a:gd name="connsiteY5" fmla="*/ 716494 h 2234993"/>
                <a:gd name="connsiteX6" fmla="*/ 105508 w 5933552"/>
                <a:gd name="connsiteY6" fmla="*/ 696397 h 2234993"/>
                <a:gd name="connsiteX7" fmla="*/ 135653 w 5933552"/>
                <a:gd name="connsiteY7" fmla="*/ 676300 h 2234993"/>
                <a:gd name="connsiteX8" fmla="*/ 467248 w 5933552"/>
                <a:gd name="connsiteY8" fmla="*/ 329632 h 2234993"/>
                <a:gd name="connsiteX9" fmla="*/ 472272 w 5933552"/>
                <a:gd name="connsiteY9" fmla="*/ 284415 h 2234993"/>
                <a:gd name="connsiteX10" fmla="*/ 442127 w 5933552"/>
                <a:gd name="connsiteY10" fmla="*/ 259294 h 2234993"/>
                <a:gd name="connsiteX11" fmla="*/ 406958 w 5933552"/>
                <a:gd name="connsiteY11" fmla="*/ 229149 h 2234993"/>
                <a:gd name="connsiteX12" fmla="*/ 406958 w 5933552"/>
                <a:gd name="connsiteY12" fmla="*/ 204028 h 2234993"/>
                <a:gd name="connsiteX13" fmla="*/ 462224 w 5933552"/>
                <a:gd name="connsiteY13" fmla="*/ 193980 h 2234993"/>
                <a:gd name="connsiteX14" fmla="*/ 864158 w 5933552"/>
                <a:gd name="connsiteY14" fmla="*/ 143738 h 2234993"/>
                <a:gd name="connsiteX15" fmla="*/ 999811 w 5933552"/>
                <a:gd name="connsiteY15" fmla="*/ 88472 h 2234993"/>
                <a:gd name="connsiteX16" fmla="*/ 1024932 w 5933552"/>
                <a:gd name="connsiteY16" fmla="*/ 78424 h 2234993"/>
                <a:gd name="connsiteX17" fmla="*/ 999811 w 5933552"/>
                <a:gd name="connsiteY17" fmla="*/ 28182 h 2234993"/>
                <a:gd name="connsiteX18" fmla="*/ 1070149 w 5933552"/>
                <a:gd name="connsiteY18" fmla="*/ 33206 h 2234993"/>
                <a:gd name="connsiteX19" fmla="*/ 1130439 w 5933552"/>
                <a:gd name="connsiteY19" fmla="*/ 53303 h 2234993"/>
                <a:gd name="connsiteX20" fmla="*/ 1160585 w 5933552"/>
                <a:gd name="connsiteY20" fmla="*/ 63351 h 2234993"/>
                <a:gd name="connsiteX21" fmla="*/ 1683099 w 5933552"/>
                <a:gd name="connsiteY21" fmla="*/ 13109 h 2234993"/>
                <a:gd name="connsiteX22" fmla="*/ 2306097 w 5933552"/>
                <a:gd name="connsiteY22" fmla="*/ 3061 h 2234993"/>
                <a:gd name="connsiteX23" fmla="*/ 3029578 w 5933552"/>
                <a:gd name="connsiteY23" fmla="*/ 58327 h 2234993"/>
                <a:gd name="connsiteX24" fmla="*/ 3135086 w 5933552"/>
                <a:gd name="connsiteY24" fmla="*/ 78424 h 2234993"/>
                <a:gd name="connsiteX25" fmla="*/ 3255666 w 5933552"/>
                <a:gd name="connsiteY25" fmla="*/ 98520 h 2234993"/>
                <a:gd name="connsiteX26" fmla="*/ 3542044 w 5933552"/>
                <a:gd name="connsiteY26" fmla="*/ 183931 h 2234993"/>
                <a:gd name="connsiteX27" fmla="*/ 3798277 w 5933552"/>
                <a:gd name="connsiteY27" fmla="*/ 319584 h 2234993"/>
                <a:gd name="connsiteX28" fmla="*/ 4210259 w 5933552"/>
                <a:gd name="connsiteY28" fmla="*/ 545672 h 2234993"/>
                <a:gd name="connsiteX29" fmla="*/ 4340888 w 5933552"/>
                <a:gd name="connsiteY29" fmla="*/ 626059 h 2234993"/>
                <a:gd name="connsiteX30" fmla="*/ 4381081 w 5933552"/>
                <a:gd name="connsiteY30" fmla="*/ 656204 h 2234993"/>
                <a:gd name="connsiteX31" fmla="*/ 4752870 w 5933552"/>
                <a:gd name="connsiteY31" fmla="*/ 686349 h 2234993"/>
                <a:gd name="connsiteX32" fmla="*/ 5164853 w 5933552"/>
                <a:gd name="connsiteY32" fmla="*/ 761711 h 2234993"/>
                <a:gd name="connsiteX33" fmla="*/ 5441182 w 5933552"/>
                <a:gd name="connsiteY33" fmla="*/ 827026 h 2234993"/>
                <a:gd name="connsiteX34" fmla="*/ 5612004 w 5933552"/>
                <a:gd name="connsiteY34" fmla="*/ 902388 h 2234993"/>
                <a:gd name="connsiteX35" fmla="*/ 5807947 w 5933552"/>
                <a:gd name="connsiteY35" fmla="*/ 1048089 h 2234993"/>
                <a:gd name="connsiteX36" fmla="*/ 5823020 w 5933552"/>
                <a:gd name="connsiteY36" fmla="*/ 1118428 h 2234993"/>
                <a:gd name="connsiteX37" fmla="*/ 5838092 w 5933552"/>
                <a:gd name="connsiteY37" fmla="*/ 1218911 h 2234993"/>
                <a:gd name="connsiteX38" fmla="*/ 5823020 w 5933552"/>
                <a:gd name="connsiteY38" fmla="*/ 1249056 h 2234993"/>
                <a:gd name="connsiteX39" fmla="*/ 5863213 w 5933552"/>
                <a:gd name="connsiteY39" fmla="*/ 1299298 h 2234993"/>
                <a:gd name="connsiteX40" fmla="*/ 5893358 w 5933552"/>
                <a:gd name="connsiteY40" fmla="*/ 1359588 h 2234993"/>
                <a:gd name="connsiteX41" fmla="*/ 5893358 w 5933552"/>
                <a:gd name="connsiteY41" fmla="*/ 1434951 h 2234993"/>
                <a:gd name="connsiteX42" fmla="*/ 5928527 w 5933552"/>
                <a:gd name="connsiteY42" fmla="*/ 1495241 h 2234993"/>
                <a:gd name="connsiteX43" fmla="*/ 5918479 w 5933552"/>
                <a:gd name="connsiteY43" fmla="*/ 1605773 h 2234993"/>
                <a:gd name="connsiteX44" fmla="*/ 5898382 w 5933552"/>
                <a:gd name="connsiteY44" fmla="*/ 1686160 h 2234993"/>
                <a:gd name="connsiteX45" fmla="*/ 5918479 w 5933552"/>
                <a:gd name="connsiteY45" fmla="*/ 1776595 h 2234993"/>
                <a:gd name="connsiteX46" fmla="*/ 5933552 w 5933552"/>
                <a:gd name="connsiteY46" fmla="*/ 1811764 h 2234993"/>
                <a:gd name="connsiteX47" fmla="*/ 5812971 w 5933552"/>
                <a:gd name="connsiteY47" fmla="*/ 1872054 h 2234993"/>
                <a:gd name="connsiteX48" fmla="*/ 5812971 w 5933552"/>
                <a:gd name="connsiteY48" fmla="*/ 1872054 h 2234993"/>
                <a:gd name="connsiteX49" fmla="*/ 5727560 w 5933552"/>
                <a:gd name="connsiteY49" fmla="*/ 1932344 h 2234993"/>
                <a:gd name="connsiteX50" fmla="*/ 5390941 w 5933552"/>
                <a:gd name="connsiteY50" fmla="*/ 1937369 h 2234993"/>
                <a:gd name="connsiteX51" fmla="*/ 5215670 w 5933552"/>
                <a:gd name="connsiteY51" fmla="*/ 1935977 h 2234993"/>
                <a:gd name="connsiteX52" fmla="*/ 4373414 w 5933552"/>
                <a:gd name="connsiteY52" fmla="*/ 1917320 h 2234993"/>
                <a:gd name="connsiteX53" fmla="*/ 1519267 w 5933552"/>
                <a:gd name="connsiteY53" fmla="*/ 1891925 h 2234993"/>
                <a:gd name="connsiteX54" fmla="*/ 619914 w 5933552"/>
                <a:gd name="connsiteY54" fmla="*/ 1836885 h 2234993"/>
                <a:gd name="connsiteX55" fmla="*/ 281354 w 5933552"/>
                <a:gd name="connsiteY55" fmla="*/ 1836885 h 2234993"/>
                <a:gd name="connsiteX56" fmla="*/ 130629 w 5933552"/>
                <a:gd name="connsiteY56" fmla="*/ 1761522 h 2234993"/>
                <a:gd name="connsiteX57" fmla="*/ 10048 w 5933552"/>
                <a:gd name="connsiteY57" fmla="*/ 1681136 h 2234993"/>
                <a:gd name="connsiteX58" fmla="*/ 0 w 5933552"/>
                <a:gd name="connsiteY58" fmla="*/ 1540459 h 2234993"/>
                <a:gd name="connsiteX59" fmla="*/ 15072 w 5933552"/>
                <a:gd name="connsiteY59" fmla="*/ 1490217 h 2234993"/>
                <a:gd name="connsiteX60" fmla="*/ 15072 w 5933552"/>
                <a:gd name="connsiteY60" fmla="*/ 1434951 h 2234993"/>
                <a:gd name="connsiteX61" fmla="*/ 25121 w 5933552"/>
                <a:gd name="connsiteY61" fmla="*/ 1384709 h 2234993"/>
                <a:gd name="connsiteX62" fmla="*/ 40193 w 5933552"/>
                <a:gd name="connsiteY62" fmla="*/ 1359588 h 2234993"/>
                <a:gd name="connsiteX63" fmla="*/ 65314 w 5933552"/>
                <a:gd name="connsiteY63" fmla="*/ 1314371 h 223499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28022"/>
                <a:gd name="connsiteX1" fmla="*/ 75363 w 5933552"/>
                <a:gd name="connsiteY1" fmla="*/ 1083259 h 2228022"/>
                <a:gd name="connsiteX2" fmla="*/ 45218 w 5933552"/>
                <a:gd name="connsiteY2" fmla="*/ 1073210 h 2228022"/>
                <a:gd name="connsiteX3" fmla="*/ 95459 w 5933552"/>
                <a:gd name="connsiteY3" fmla="*/ 887316 h 2228022"/>
                <a:gd name="connsiteX4" fmla="*/ 80387 w 5933552"/>
                <a:gd name="connsiteY4" fmla="*/ 771760 h 2228022"/>
                <a:gd name="connsiteX5" fmla="*/ 85411 w 5933552"/>
                <a:gd name="connsiteY5" fmla="*/ 716494 h 2228022"/>
                <a:gd name="connsiteX6" fmla="*/ 105508 w 5933552"/>
                <a:gd name="connsiteY6" fmla="*/ 696397 h 2228022"/>
                <a:gd name="connsiteX7" fmla="*/ 135653 w 5933552"/>
                <a:gd name="connsiteY7" fmla="*/ 676300 h 2228022"/>
                <a:gd name="connsiteX8" fmla="*/ 467248 w 5933552"/>
                <a:gd name="connsiteY8" fmla="*/ 329632 h 2228022"/>
                <a:gd name="connsiteX9" fmla="*/ 472272 w 5933552"/>
                <a:gd name="connsiteY9" fmla="*/ 284415 h 2228022"/>
                <a:gd name="connsiteX10" fmla="*/ 442127 w 5933552"/>
                <a:gd name="connsiteY10" fmla="*/ 259294 h 2228022"/>
                <a:gd name="connsiteX11" fmla="*/ 406958 w 5933552"/>
                <a:gd name="connsiteY11" fmla="*/ 229149 h 2228022"/>
                <a:gd name="connsiteX12" fmla="*/ 406958 w 5933552"/>
                <a:gd name="connsiteY12" fmla="*/ 204028 h 2228022"/>
                <a:gd name="connsiteX13" fmla="*/ 462224 w 5933552"/>
                <a:gd name="connsiteY13" fmla="*/ 193980 h 2228022"/>
                <a:gd name="connsiteX14" fmla="*/ 864158 w 5933552"/>
                <a:gd name="connsiteY14" fmla="*/ 143738 h 2228022"/>
                <a:gd name="connsiteX15" fmla="*/ 999811 w 5933552"/>
                <a:gd name="connsiteY15" fmla="*/ 88472 h 2228022"/>
                <a:gd name="connsiteX16" fmla="*/ 1024932 w 5933552"/>
                <a:gd name="connsiteY16" fmla="*/ 78424 h 2228022"/>
                <a:gd name="connsiteX17" fmla="*/ 999811 w 5933552"/>
                <a:gd name="connsiteY17" fmla="*/ 28182 h 2228022"/>
                <a:gd name="connsiteX18" fmla="*/ 1070149 w 5933552"/>
                <a:gd name="connsiteY18" fmla="*/ 33206 h 2228022"/>
                <a:gd name="connsiteX19" fmla="*/ 1130439 w 5933552"/>
                <a:gd name="connsiteY19" fmla="*/ 53303 h 2228022"/>
                <a:gd name="connsiteX20" fmla="*/ 1160585 w 5933552"/>
                <a:gd name="connsiteY20" fmla="*/ 63351 h 2228022"/>
                <a:gd name="connsiteX21" fmla="*/ 1683099 w 5933552"/>
                <a:gd name="connsiteY21" fmla="*/ 13109 h 2228022"/>
                <a:gd name="connsiteX22" fmla="*/ 2306097 w 5933552"/>
                <a:gd name="connsiteY22" fmla="*/ 3061 h 2228022"/>
                <a:gd name="connsiteX23" fmla="*/ 3029578 w 5933552"/>
                <a:gd name="connsiteY23" fmla="*/ 58327 h 2228022"/>
                <a:gd name="connsiteX24" fmla="*/ 3135086 w 5933552"/>
                <a:gd name="connsiteY24" fmla="*/ 78424 h 2228022"/>
                <a:gd name="connsiteX25" fmla="*/ 3255666 w 5933552"/>
                <a:gd name="connsiteY25" fmla="*/ 98520 h 2228022"/>
                <a:gd name="connsiteX26" fmla="*/ 3542044 w 5933552"/>
                <a:gd name="connsiteY26" fmla="*/ 183931 h 2228022"/>
                <a:gd name="connsiteX27" fmla="*/ 3798277 w 5933552"/>
                <a:gd name="connsiteY27" fmla="*/ 319584 h 2228022"/>
                <a:gd name="connsiteX28" fmla="*/ 4210259 w 5933552"/>
                <a:gd name="connsiteY28" fmla="*/ 545672 h 2228022"/>
                <a:gd name="connsiteX29" fmla="*/ 4340888 w 5933552"/>
                <a:gd name="connsiteY29" fmla="*/ 626059 h 2228022"/>
                <a:gd name="connsiteX30" fmla="*/ 4381081 w 5933552"/>
                <a:gd name="connsiteY30" fmla="*/ 656204 h 2228022"/>
                <a:gd name="connsiteX31" fmla="*/ 4752870 w 5933552"/>
                <a:gd name="connsiteY31" fmla="*/ 686349 h 2228022"/>
                <a:gd name="connsiteX32" fmla="*/ 5164853 w 5933552"/>
                <a:gd name="connsiteY32" fmla="*/ 761711 h 2228022"/>
                <a:gd name="connsiteX33" fmla="*/ 5441182 w 5933552"/>
                <a:gd name="connsiteY33" fmla="*/ 827026 h 2228022"/>
                <a:gd name="connsiteX34" fmla="*/ 5612004 w 5933552"/>
                <a:gd name="connsiteY34" fmla="*/ 902388 h 2228022"/>
                <a:gd name="connsiteX35" fmla="*/ 5807947 w 5933552"/>
                <a:gd name="connsiteY35" fmla="*/ 1048089 h 2228022"/>
                <a:gd name="connsiteX36" fmla="*/ 5823020 w 5933552"/>
                <a:gd name="connsiteY36" fmla="*/ 1118428 h 2228022"/>
                <a:gd name="connsiteX37" fmla="*/ 5838092 w 5933552"/>
                <a:gd name="connsiteY37" fmla="*/ 1218911 h 2228022"/>
                <a:gd name="connsiteX38" fmla="*/ 5823020 w 5933552"/>
                <a:gd name="connsiteY38" fmla="*/ 1249056 h 2228022"/>
                <a:gd name="connsiteX39" fmla="*/ 5863213 w 5933552"/>
                <a:gd name="connsiteY39" fmla="*/ 1299298 h 2228022"/>
                <a:gd name="connsiteX40" fmla="*/ 5893358 w 5933552"/>
                <a:gd name="connsiteY40" fmla="*/ 1359588 h 2228022"/>
                <a:gd name="connsiteX41" fmla="*/ 5893358 w 5933552"/>
                <a:gd name="connsiteY41" fmla="*/ 1434951 h 2228022"/>
                <a:gd name="connsiteX42" fmla="*/ 5928527 w 5933552"/>
                <a:gd name="connsiteY42" fmla="*/ 1495241 h 2228022"/>
                <a:gd name="connsiteX43" fmla="*/ 5918479 w 5933552"/>
                <a:gd name="connsiteY43" fmla="*/ 1605773 h 2228022"/>
                <a:gd name="connsiteX44" fmla="*/ 5898382 w 5933552"/>
                <a:gd name="connsiteY44" fmla="*/ 1686160 h 2228022"/>
                <a:gd name="connsiteX45" fmla="*/ 5918479 w 5933552"/>
                <a:gd name="connsiteY45" fmla="*/ 1776595 h 2228022"/>
                <a:gd name="connsiteX46" fmla="*/ 5933552 w 5933552"/>
                <a:gd name="connsiteY46" fmla="*/ 1811764 h 2228022"/>
                <a:gd name="connsiteX47" fmla="*/ 5812971 w 5933552"/>
                <a:gd name="connsiteY47" fmla="*/ 1872054 h 2228022"/>
                <a:gd name="connsiteX48" fmla="*/ 5812971 w 5933552"/>
                <a:gd name="connsiteY48" fmla="*/ 1872054 h 2228022"/>
                <a:gd name="connsiteX49" fmla="*/ 5727560 w 5933552"/>
                <a:gd name="connsiteY49" fmla="*/ 1932344 h 2228022"/>
                <a:gd name="connsiteX50" fmla="*/ 5390941 w 5933552"/>
                <a:gd name="connsiteY50" fmla="*/ 1937369 h 2228022"/>
                <a:gd name="connsiteX51" fmla="*/ 5215670 w 5933552"/>
                <a:gd name="connsiteY51" fmla="*/ 1935977 h 2228022"/>
                <a:gd name="connsiteX52" fmla="*/ 1498817 w 5933552"/>
                <a:gd name="connsiteY52" fmla="*/ 1891925 h 2228022"/>
                <a:gd name="connsiteX53" fmla="*/ 619914 w 5933552"/>
                <a:gd name="connsiteY53" fmla="*/ 1836885 h 2228022"/>
                <a:gd name="connsiteX54" fmla="*/ 281354 w 5933552"/>
                <a:gd name="connsiteY54" fmla="*/ 1836885 h 2228022"/>
                <a:gd name="connsiteX55" fmla="*/ 130629 w 5933552"/>
                <a:gd name="connsiteY55" fmla="*/ 1761522 h 2228022"/>
                <a:gd name="connsiteX56" fmla="*/ 10048 w 5933552"/>
                <a:gd name="connsiteY56" fmla="*/ 1681136 h 2228022"/>
                <a:gd name="connsiteX57" fmla="*/ 0 w 5933552"/>
                <a:gd name="connsiteY57" fmla="*/ 1540459 h 2228022"/>
                <a:gd name="connsiteX58" fmla="*/ 15072 w 5933552"/>
                <a:gd name="connsiteY58" fmla="*/ 1490217 h 2228022"/>
                <a:gd name="connsiteX59" fmla="*/ 15072 w 5933552"/>
                <a:gd name="connsiteY59" fmla="*/ 1434951 h 2228022"/>
                <a:gd name="connsiteX60" fmla="*/ 25121 w 5933552"/>
                <a:gd name="connsiteY60" fmla="*/ 1384709 h 2228022"/>
                <a:gd name="connsiteX61" fmla="*/ 40193 w 5933552"/>
                <a:gd name="connsiteY61" fmla="*/ 1359588 h 2228022"/>
                <a:gd name="connsiteX62" fmla="*/ 65314 w 5933552"/>
                <a:gd name="connsiteY62" fmla="*/ 1314371 h 2228022"/>
                <a:gd name="connsiteX0" fmla="*/ 65314 w 5933552"/>
                <a:gd name="connsiteY0" fmla="*/ 1314371 h 1937368"/>
                <a:gd name="connsiteX1" fmla="*/ 75363 w 5933552"/>
                <a:gd name="connsiteY1" fmla="*/ 1083259 h 1937368"/>
                <a:gd name="connsiteX2" fmla="*/ 45218 w 5933552"/>
                <a:gd name="connsiteY2" fmla="*/ 1073210 h 1937368"/>
                <a:gd name="connsiteX3" fmla="*/ 95459 w 5933552"/>
                <a:gd name="connsiteY3" fmla="*/ 887316 h 1937368"/>
                <a:gd name="connsiteX4" fmla="*/ 80387 w 5933552"/>
                <a:gd name="connsiteY4" fmla="*/ 771760 h 1937368"/>
                <a:gd name="connsiteX5" fmla="*/ 85411 w 5933552"/>
                <a:gd name="connsiteY5" fmla="*/ 716494 h 1937368"/>
                <a:gd name="connsiteX6" fmla="*/ 105508 w 5933552"/>
                <a:gd name="connsiteY6" fmla="*/ 696397 h 1937368"/>
                <a:gd name="connsiteX7" fmla="*/ 135653 w 5933552"/>
                <a:gd name="connsiteY7" fmla="*/ 676300 h 1937368"/>
                <a:gd name="connsiteX8" fmla="*/ 467248 w 5933552"/>
                <a:gd name="connsiteY8" fmla="*/ 329632 h 1937368"/>
                <a:gd name="connsiteX9" fmla="*/ 472272 w 5933552"/>
                <a:gd name="connsiteY9" fmla="*/ 284415 h 1937368"/>
                <a:gd name="connsiteX10" fmla="*/ 442127 w 5933552"/>
                <a:gd name="connsiteY10" fmla="*/ 259294 h 1937368"/>
                <a:gd name="connsiteX11" fmla="*/ 406958 w 5933552"/>
                <a:gd name="connsiteY11" fmla="*/ 229149 h 1937368"/>
                <a:gd name="connsiteX12" fmla="*/ 406958 w 5933552"/>
                <a:gd name="connsiteY12" fmla="*/ 204028 h 1937368"/>
                <a:gd name="connsiteX13" fmla="*/ 462224 w 5933552"/>
                <a:gd name="connsiteY13" fmla="*/ 193980 h 1937368"/>
                <a:gd name="connsiteX14" fmla="*/ 864158 w 5933552"/>
                <a:gd name="connsiteY14" fmla="*/ 143738 h 1937368"/>
                <a:gd name="connsiteX15" fmla="*/ 999811 w 5933552"/>
                <a:gd name="connsiteY15" fmla="*/ 88472 h 1937368"/>
                <a:gd name="connsiteX16" fmla="*/ 1024932 w 5933552"/>
                <a:gd name="connsiteY16" fmla="*/ 78424 h 1937368"/>
                <a:gd name="connsiteX17" fmla="*/ 999811 w 5933552"/>
                <a:gd name="connsiteY17" fmla="*/ 28182 h 1937368"/>
                <a:gd name="connsiteX18" fmla="*/ 1070149 w 5933552"/>
                <a:gd name="connsiteY18" fmla="*/ 33206 h 1937368"/>
                <a:gd name="connsiteX19" fmla="*/ 1130439 w 5933552"/>
                <a:gd name="connsiteY19" fmla="*/ 53303 h 1937368"/>
                <a:gd name="connsiteX20" fmla="*/ 1160585 w 5933552"/>
                <a:gd name="connsiteY20" fmla="*/ 63351 h 1937368"/>
                <a:gd name="connsiteX21" fmla="*/ 1683099 w 5933552"/>
                <a:gd name="connsiteY21" fmla="*/ 13109 h 1937368"/>
                <a:gd name="connsiteX22" fmla="*/ 2306097 w 5933552"/>
                <a:gd name="connsiteY22" fmla="*/ 3061 h 1937368"/>
                <a:gd name="connsiteX23" fmla="*/ 3029578 w 5933552"/>
                <a:gd name="connsiteY23" fmla="*/ 58327 h 1937368"/>
                <a:gd name="connsiteX24" fmla="*/ 3135086 w 5933552"/>
                <a:gd name="connsiteY24" fmla="*/ 78424 h 1937368"/>
                <a:gd name="connsiteX25" fmla="*/ 3255666 w 5933552"/>
                <a:gd name="connsiteY25" fmla="*/ 98520 h 1937368"/>
                <a:gd name="connsiteX26" fmla="*/ 3542044 w 5933552"/>
                <a:gd name="connsiteY26" fmla="*/ 183931 h 1937368"/>
                <a:gd name="connsiteX27" fmla="*/ 3798277 w 5933552"/>
                <a:gd name="connsiteY27" fmla="*/ 319584 h 1937368"/>
                <a:gd name="connsiteX28" fmla="*/ 4210259 w 5933552"/>
                <a:gd name="connsiteY28" fmla="*/ 545672 h 1937368"/>
                <a:gd name="connsiteX29" fmla="*/ 4340888 w 5933552"/>
                <a:gd name="connsiteY29" fmla="*/ 626059 h 1937368"/>
                <a:gd name="connsiteX30" fmla="*/ 4381081 w 5933552"/>
                <a:gd name="connsiteY30" fmla="*/ 656204 h 1937368"/>
                <a:gd name="connsiteX31" fmla="*/ 4752870 w 5933552"/>
                <a:gd name="connsiteY31" fmla="*/ 686349 h 1937368"/>
                <a:gd name="connsiteX32" fmla="*/ 5164853 w 5933552"/>
                <a:gd name="connsiteY32" fmla="*/ 761711 h 1937368"/>
                <a:gd name="connsiteX33" fmla="*/ 5441182 w 5933552"/>
                <a:gd name="connsiteY33" fmla="*/ 827026 h 1937368"/>
                <a:gd name="connsiteX34" fmla="*/ 5612004 w 5933552"/>
                <a:gd name="connsiteY34" fmla="*/ 902388 h 1937368"/>
                <a:gd name="connsiteX35" fmla="*/ 5807947 w 5933552"/>
                <a:gd name="connsiteY35" fmla="*/ 1048089 h 1937368"/>
                <a:gd name="connsiteX36" fmla="*/ 5823020 w 5933552"/>
                <a:gd name="connsiteY36" fmla="*/ 1118428 h 1937368"/>
                <a:gd name="connsiteX37" fmla="*/ 5838092 w 5933552"/>
                <a:gd name="connsiteY37" fmla="*/ 1218911 h 1937368"/>
                <a:gd name="connsiteX38" fmla="*/ 5823020 w 5933552"/>
                <a:gd name="connsiteY38" fmla="*/ 1249056 h 1937368"/>
                <a:gd name="connsiteX39" fmla="*/ 5863213 w 5933552"/>
                <a:gd name="connsiteY39" fmla="*/ 1299298 h 1937368"/>
                <a:gd name="connsiteX40" fmla="*/ 5893358 w 5933552"/>
                <a:gd name="connsiteY40" fmla="*/ 1359588 h 1937368"/>
                <a:gd name="connsiteX41" fmla="*/ 5893358 w 5933552"/>
                <a:gd name="connsiteY41" fmla="*/ 1434951 h 1937368"/>
                <a:gd name="connsiteX42" fmla="*/ 5928527 w 5933552"/>
                <a:gd name="connsiteY42" fmla="*/ 1495241 h 1937368"/>
                <a:gd name="connsiteX43" fmla="*/ 5918479 w 5933552"/>
                <a:gd name="connsiteY43" fmla="*/ 1605773 h 1937368"/>
                <a:gd name="connsiteX44" fmla="*/ 5898382 w 5933552"/>
                <a:gd name="connsiteY44" fmla="*/ 1686160 h 1937368"/>
                <a:gd name="connsiteX45" fmla="*/ 5918479 w 5933552"/>
                <a:gd name="connsiteY45" fmla="*/ 1776595 h 1937368"/>
                <a:gd name="connsiteX46" fmla="*/ 5933552 w 5933552"/>
                <a:gd name="connsiteY46" fmla="*/ 1811764 h 1937368"/>
                <a:gd name="connsiteX47" fmla="*/ 5812971 w 5933552"/>
                <a:gd name="connsiteY47" fmla="*/ 1872054 h 1937368"/>
                <a:gd name="connsiteX48" fmla="*/ 5812971 w 5933552"/>
                <a:gd name="connsiteY48" fmla="*/ 1872054 h 1937368"/>
                <a:gd name="connsiteX49" fmla="*/ 5727560 w 5933552"/>
                <a:gd name="connsiteY49" fmla="*/ 1932344 h 1937368"/>
                <a:gd name="connsiteX50" fmla="*/ 5390941 w 5933552"/>
                <a:gd name="connsiteY50" fmla="*/ 1937369 h 1937368"/>
                <a:gd name="connsiteX51" fmla="*/ 5215670 w 5933552"/>
                <a:gd name="connsiteY51" fmla="*/ 1935977 h 1937368"/>
                <a:gd name="connsiteX52" fmla="*/ 619914 w 5933552"/>
                <a:gd name="connsiteY52" fmla="*/ 1836885 h 1937368"/>
                <a:gd name="connsiteX53" fmla="*/ 281354 w 5933552"/>
                <a:gd name="connsiteY53" fmla="*/ 1836885 h 1937368"/>
                <a:gd name="connsiteX54" fmla="*/ 130629 w 5933552"/>
                <a:gd name="connsiteY54" fmla="*/ 1761522 h 1937368"/>
                <a:gd name="connsiteX55" fmla="*/ 10048 w 5933552"/>
                <a:gd name="connsiteY55" fmla="*/ 1681136 h 1937368"/>
                <a:gd name="connsiteX56" fmla="*/ 0 w 5933552"/>
                <a:gd name="connsiteY56" fmla="*/ 1540459 h 1937368"/>
                <a:gd name="connsiteX57" fmla="*/ 15072 w 5933552"/>
                <a:gd name="connsiteY57" fmla="*/ 1490217 h 1937368"/>
                <a:gd name="connsiteX58" fmla="*/ 15072 w 5933552"/>
                <a:gd name="connsiteY58" fmla="*/ 1434951 h 1937368"/>
                <a:gd name="connsiteX59" fmla="*/ 25121 w 5933552"/>
                <a:gd name="connsiteY59" fmla="*/ 1384709 h 1937368"/>
                <a:gd name="connsiteX60" fmla="*/ 40193 w 5933552"/>
                <a:gd name="connsiteY60" fmla="*/ 1359588 h 1937368"/>
                <a:gd name="connsiteX61" fmla="*/ 65314 w 5933552"/>
                <a:gd name="connsiteY61" fmla="*/ 1314371 h 193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5933552" h="1937368">
                  <a:moveTo>
                    <a:pt x="65314" y="1314371"/>
                  </a:moveTo>
                  <a:lnTo>
                    <a:pt x="75363" y="1083259"/>
                  </a:lnTo>
                  <a:lnTo>
                    <a:pt x="45218" y="1073210"/>
                  </a:lnTo>
                  <a:lnTo>
                    <a:pt x="95459" y="887316"/>
                  </a:lnTo>
                  <a:lnTo>
                    <a:pt x="80387" y="771760"/>
                  </a:lnTo>
                  <a:lnTo>
                    <a:pt x="85411" y="716494"/>
                  </a:lnTo>
                  <a:lnTo>
                    <a:pt x="105508" y="696397"/>
                  </a:lnTo>
                  <a:lnTo>
                    <a:pt x="135653" y="676300"/>
                  </a:lnTo>
                  <a:lnTo>
                    <a:pt x="467248" y="329632"/>
                  </a:lnTo>
                  <a:lnTo>
                    <a:pt x="472272" y="284415"/>
                  </a:lnTo>
                  <a:lnTo>
                    <a:pt x="442127" y="259294"/>
                  </a:lnTo>
                  <a:lnTo>
                    <a:pt x="406958" y="229149"/>
                  </a:lnTo>
                  <a:lnTo>
                    <a:pt x="406958" y="204028"/>
                  </a:lnTo>
                  <a:lnTo>
                    <a:pt x="462224" y="193980"/>
                  </a:lnTo>
                  <a:lnTo>
                    <a:pt x="864158" y="143738"/>
                  </a:lnTo>
                  <a:lnTo>
                    <a:pt x="999811" y="88472"/>
                  </a:lnTo>
                  <a:lnTo>
                    <a:pt x="1024932" y="78424"/>
                  </a:lnTo>
                  <a:lnTo>
                    <a:pt x="999811" y="28182"/>
                  </a:lnTo>
                  <a:lnTo>
                    <a:pt x="1070149" y="33206"/>
                  </a:lnTo>
                  <a:lnTo>
                    <a:pt x="1130439" y="53303"/>
                  </a:lnTo>
                  <a:lnTo>
                    <a:pt x="1160585" y="63351"/>
                  </a:lnTo>
                  <a:cubicBezTo>
                    <a:pt x="1252695" y="56652"/>
                    <a:pt x="1492180" y="23157"/>
                    <a:pt x="1683099" y="13109"/>
                  </a:cubicBezTo>
                  <a:cubicBezTo>
                    <a:pt x="1874018" y="3061"/>
                    <a:pt x="2081684" y="-4475"/>
                    <a:pt x="2306097" y="3061"/>
                  </a:cubicBezTo>
                  <a:cubicBezTo>
                    <a:pt x="2530510" y="10597"/>
                    <a:pt x="2891413" y="45767"/>
                    <a:pt x="3029578" y="58327"/>
                  </a:cubicBezTo>
                  <a:cubicBezTo>
                    <a:pt x="3167743" y="70887"/>
                    <a:pt x="3099917" y="71725"/>
                    <a:pt x="3135086" y="78424"/>
                  </a:cubicBezTo>
                  <a:lnTo>
                    <a:pt x="3255666" y="98520"/>
                  </a:lnTo>
                  <a:cubicBezTo>
                    <a:pt x="3323492" y="116105"/>
                    <a:pt x="3456633" y="138713"/>
                    <a:pt x="3542044" y="183931"/>
                  </a:cubicBezTo>
                  <a:lnTo>
                    <a:pt x="3798277" y="319584"/>
                  </a:lnTo>
                  <a:lnTo>
                    <a:pt x="4210259" y="545672"/>
                  </a:lnTo>
                  <a:lnTo>
                    <a:pt x="4340888" y="626059"/>
                  </a:lnTo>
                  <a:lnTo>
                    <a:pt x="4381081" y="656204"/>
                  </a:lnTo>
                  <a:cubicBezTo>
                    <a:pt x="4449745" y="666252"/>
                    <a:pt x="4622241" y="668765"/>
                    <a:pt x="4752870" y="686349"/>
                  </a:cubicBezTo>
                  <a:cubicBezTo>
                    <a:pt x="4883499" y="703933"/>
                    <a:pt x="5072743" y="739939"/>
                    <a:pt x="5164853" y="761711"/>
                  </a:cubicBezTo>
                  <a:lnTo>
                    <a:pt x="5441182" y="827026"/>
                  </a:lnTo>
                  <a:cubicBezTo>
                    <a:pt x="5515707" y="850472"/>
                    <a:pt x="5546690" y="853821"/>
                    <a:pt x="5612004" y="902388"/>
                  </a:cubicBezTo>
                  <a:lnTo>
                    <a:pt x="5807947" y="1048089"/>
                  </a:lnTo>
                  <a:lnTo>
                    <a:pt x="5823020" y="1118428"/>
                  </a:lnTo>
                  <a:lnTo>
                    <a:pt x="5838092" y="1218911"/>
                  </a:lnTo>
                  <a:lnTo>
                    <a:pt x="5823020" y="1249056"/>
                  </a:lnTo>
                  <a:lnTo>
                    <a:pt x="5863213" y="1299298"/>
                  </a:lnTo>
                  <a:lnTo>
                    <a:pt x="5893358" y="1359588"/>
                  </a:lnTo>
                  <a:lnTo>
                    <a:pt x="5893358" y="1434951"/>
                  </a:lnTo>
                  <a:lnTo>
                    <a:pt x="5928527" y="1495241"/>
                  </a:lnTo>
                  <a:lnTo>
                    <a:pt x="5918479" y="1605773"/>
                  </a:lnTo>
                  <a:lnTo>
                    <a:pt x="5898382" y="1686160"/>
                  </a:lnTo>
                  <a:lnTo>
                    <a:pt x="5918479" y="1776595"/>
                  </a:lnTo>
                  <a:lnTo>
                    <a:pt x="5933552" y="1811764"/>
                  </a:lnTo>
                  <a:lnTo>
                    <a:pt x="5812971" y="1872054"/>
                  </a:lnTo>
                  <a:lnTo>
                    <a:pt x="5812971" y="1872054"/>
                  </a:lnTo>
                  <a:lnTo>
                    <a:pt x="5727560" y="1932344"/>
                  </a:lnTo>
                  <a:lnTo>
                    <a:pt x="5390941" y="1937369"/>
                  </a:lnTo>
                  <a:lnTo>
                    <a:pt x="5215670" y="1935977"/>
                  </a:lnTo>
                  <a:lnTo>
                    <a:pt x="619914" y="1836885"/>
                  </a:lnTo>
                  <a:lnTo>
                    <a:pt x="281354" y="1836885"/>
                  </a:lnTo>
                  <a:lnTo>
                    <a:pt x="130629" y="1761522"/>
                  </a:lnTo>
                  <a:lnTo>
                    <a:pt x="10048" y="1681136"/>
                  </a:lnTo>
                  <a:lnTo>
                    <a:pt x="0" y="1540459"/>
                  </a:lnTo>
                  <a:lnTo>
                    <a:pt x="15072" y="1490217"/>
                  </a:lnTo>
                  <a:lnTo>
                    <a:pt x="15072" y="1434951"/>
                  </a:lnTo>
                  <a:lnTo>
                    <a:pt x="25121" y="1384709"/>
                  </a:lnTo>
                  <a:lnTo>
                    <a:pt x="40193" y="1359588"/>
                  </a:lnTo>
                  <a:lnTo>
                    <a:pt x="65314" y="1314371"/>
                  </a:lnTo>
                  <a:close/>
                </a:path>
              </a:pathLst>
            </a:custGeom>
            <a:grpFill/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1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5936627" y="4703068"/>
            <a:ext cx="1588184" cy="539938"/>
            <a:chOff x="7839707" y="5258986"/>
            <a:chExt cx="2419186" cy="822454"/>
          </a:xfrm>
          <a:solidFill>
            <a:schemeClr val="accent2"/>
          </a:solidFill>
        </p:grpSpPr>
        <p:sp>
          <p:nvSpPr>
            <p:cNvPr id="59" name="Rounded Rectangle 58"/>
            <p:cNvSpPr/>
            <p:nvPr/>
          </p:nvSpPr>
          <p:spPr>
            <a:xfrm>
              <a:off x="7839707" y="5258986"/>
              <a:ext cx="2419186" cy="71529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3A</a:t>
              </a:r>
            </a:p>
          </p:txBody>
        </p:sp>
        <p:sp>
          <p:nvSpPr>
            <p:cNvPr id="60" name="Oval 59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8071370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357265" y="3715109"/>
            <a:ext cx="669816" cy="500844"/>
            <a:chOff x="5396652" y="5705087"/>
            <a:chExt cx="1223636" cy="914953"/>
          </a:xfrm>
          <a:solidFill>
            <a:schemeClr val="accent2"/>
          </a:solidFill>
        </p:grpSpPr>
        <p:sp>
          <p:nvSpPr>
            <p:cNvPr id="64" name="Rounded Rectangle 63"/>
            <p:cNvSpPr/>
            <p:nvPr/>
          </p:nvSpPr>
          <p:spPr>
            <a:xfrm>
              <a:off x="5396652" y="5705087"/>
              <a:ext cx="1223636" cy="79589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A</a:t>
              </a:r>
            </a:p>
          </p:txBody>
        </p:sp>
        <p:sp>
          <p:nvSpPr>
            <p:cNvPr id="65" name="Oval 64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357265" y="2875548"/>
            <a:ext cx="669816" cy="395452"/>
            <a:chOff x="5396652" y="5895947"/>
            <a:chExt cx="1223636" cy="722424"/>
          </a:xfrm>
          <a:solidFill>
            <a:schemeClr val="accent2"/>
          </a:solidFill>
        </p:grpSpPr>
        <p:sp>
          <p:nvSpPr>
            <p:cNvPr id="68" name="Rounded Rectangle 67"/>
            <p:cNvSpPr/>
            <p:nvPr/>
          </p:nvSpPr>
          <p:spPr>
            <a:xfrm>
              <a:off x="5396652" y="5895947"/>
              <a:ext cx="1223636" cy="60502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1A</a:t>
              </a:r>
            </a:p>
          </p:txBody>
        </p:sp>
        <p:sp>
          <p:nvSpPr>
            <p:cNvPr id="69" name="Oval 68"/>
            <p:cNvSpPr/>
            <p:nvPr/>
          </p:nvSpPr>
          <p:spPr>
            <a:xfrm>
              <a:off x="5610515" y="6380246"/>
              <a:ext cx="238124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6167394" y="6379191"/>
              <a:ext cx="238124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8707803" y="3677972"/>
            <a:ext cx="724260" cy="541554"/>
            <a:chOff x="5396652" y="5705087"/>
            <a:chExt cx="1223636" cy="91495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4" name="Rounded Rectangle 73"/>
            <p:cNvSpPr/>
            <p:nvPr/>
          </p:nvSpPr>
          <p:spPr>
            <a:xfrm>
              <a:off x="5396652" y="5705087"/>
              <a:ext cx="1223636" cy="79589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2A</a:t>
              </a:r>
            </a:p>
          </p:txBody>
        </p:sp>
        <p:sp>
          <p:nvSpPr>
            <p:cNvPr id="75" name="Oval 74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8744263" y="2840308"/>
            <a:ext cx="648768" cy="426533"/>
            <a:chOff x="6805235" y="5829300"/>
            <a:chExt cx="1148140" cy="616531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8" name="Rounded Rectangle 77"/>
            <p:cNvSpPr/>
            <p:nvPr/>
          </p:nvSpPr>
          <p:spPr>
            <a:xfrm>
              <a:off x="6805235" y="5829300"/>
              <a:ext cx="1148140" cy="39513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6805235" y="5958967"/>
              <a:ext cx="1148140" cy="3951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1A</a:t>
              </a:r>
            </a:p>
          </p:txBody>
        </p:sp>
        <p:sp>
          <p:nvSpPr>
            <p:cNvPr id="80" name="Oval 79"/>
            <p:cNvSpPr/>
            <p:nvPr/>
          </p:nvSpPr>
          <p:spPr>
            <a:xfrm>
              <a:off x="6923295" y="6176518"/>
              <a:ext cx="238125" cy="26931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7590392" y="6176519"/>
              <a:ext cx="238126" cy="26931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8393944" y="4683553"/>
            <a:ext cx="1358300" cy="558332"/>
            <a:chOff x="7839706" y="5087031"/>
            <a:chExt cx="2419186" cy="994409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3" name="Rounded Rectangle 65"/>
            <p:cNvSpPr/>
            <p:nvPr/>
          </p:nvSpPr>
          <p:spPr>
            <a:xfrm>
              <a:off x="7839706" y="5087031"/>
              <a:ext cx="2419186" cy="647066"/>
            </a:xfrm>
            <a:custGeom>
              <a:avLst/>
              <a:gdLst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127076 w 2850534"/>
                <a:gd name="connsiteY6" fmla="*/ 762440 h 762440"/>
                <a:gd name="connsiteX7" fmla="*/ 0 w 2850534"/>
                <a:gd name="connsiteY7" fmla="*/ 635364 h 762440"/>
                <a:gd name="connsiteX8" fmla="*/ 0 w 2850534"/>
                <a:gd name="connsiteY8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0 w 2850534"/>
                <a:gd name="connsiteY7" fmla="*/ 635364 h 762440"/>
                <a:gd name="connsiteX8" fmla="*/ 0 w 2850534"/>
                <a:gd name="connsiteY8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169811 w 2850534"/>
                <a:gd name="connsiteY7" fmla="*/ 703511 h 762440"/>
                <a:gd name="connsiteX8" fmla="*/ 0 w 2850534"/>
                <a:gd name="connsiteY8" fmla="*/ 635364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0 w 2850534"/>
                <a:gd name="connsiteY8" fmla="*/ 635364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0 w 2850534"/>
                <a:gd name="connsiteY8" fmla="*/ 635364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2666 w 2850534"/>
                <a:gd name="connsiteY8" fmla="*/ 574049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2666 w 2850534"/>
                <a:gd name="connsiteY8" fmla="*/ 574049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97832 w 2850534"/>
                <a:gd name="connsiteY8" fmla="*/ 628866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97832 w 2850534"/>
                <a:gd name="connsiteY8" fmla="*/ 628866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100497 w 2850534"/>
                <a:gd name="connsiteY8" fmla="*/ 636863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100497 w 2850534"/>
                <a:gd name="connsiteY8" fmla="*/ 636863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100497 w 2850534"/>
                <a:gd name="connsiteY8" fmla="*/ 636863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50534" h="762440">
                  <a:moveTo>
                    <a:pt x="0" y="127076"/>
                  </a:moveTo>
                  <a:cubicBezTo>
                    <a:pt x="0" y="56894"/>
                    <a:pt x="56894" y="0"/>
                    <a:pt x="127076" y="0"/>
                  </a:cubicBezTo>
                  <a:lnTo>
                    <a:pt x="2723458" y="0"/>
                  </a:lnTo>
                  <a:cubicBezTo>
                    <a:pt x="2793640" y="0"/>
                    <a:pt x="2850534" y="56894"/>
                    <a:pt x="2850534" y="127076"/>
                  </a:cubicBezTo>
                  <a:lnTo>
                    <a:pt x="2850534" y="635364"/>
                  </a:lnTo>
                  <a:cubicBezTo>
                    <a:pt x="2850534" y="705546"/>
                    <a:pt x="2793640" y="762440"/>
                    <a:pt x="2723458" y="762440"/>
                  </a:cubicBezTo>
                  <a:lnTo>
                    <a:pt x="510964" y="759774"/>
                  </a:lnTo>
                  <a:cubicBezTo>
                    <a:pt x="447917" y="755285"/>
                    <a:pt x="481573" y="657598"/>
                    <a:pt x="396412" y="636863"/>
                  </a:cubicBezTo>
                  <a:lnTo>
                    <a:pt x="100497" y="636863"/>
                  </a:lnTo>
                  <a:cubicBezTo>
                    <a:pt x="53535" y="634392"/>
                    <a:pt x="2976" y="644351"/>
                    <a:pt x="2666" y="574049"/>
                  </a:cubicBezTo>
                  <a:cubicBezTo>
                    <a:pt x="1777" y="425058"/>
                    <a:pt x="889" y="276067"/>
                    <a:pt x="0" y="12707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Oval 84"/>
            <p:cNvSpPr/>
            <p:nvPr/>
          </p:nvSpPr>
          <p:spPr>
            <a:xfrm>
              <a:off x="7924592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8592551" y="5885242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Rounded Rectangle 70"/>
            <p:cNvSpPr/>
            <p:nvPr/>
          </p:nvSpPr>
          <p:spPr>
            <a:xfrm>
              <a:off x="7839706" y="5657810"/>
              <a:ext cx="974740" cy="288154"/>
            </a:xfrm>
            <a:custGeom>
              <a:avLst/>
              <a:gdLst>
                <a:gd name="connsiteX0" fmla="*/ 0 w 1148539"/>
                <a:gd name="connsiteY0" fmla="*/ 46103 h 208904"/>
                <a:gd name="connsiteX1" fmla="*/ 46103 w 1148539"/>
                <a:gd name="connsiteY1" fmla="*/ 0 h 208904"/>
                <a:gd name="connsiteX2" fmla="*/ 1102436 w 1148539"/>
                <a:gd name="connsiteY2" fmla="*/ 0 h 208904"/>
                <a:gd name="connsiteX3" fmla="*/ 1148539 w 1148539"/>
                <a:gd name="connsiteY3" fmla="*/ 46103 h 208904"/>
                <a:gd name="connsiteX4" fmla="*/ 1148539 w 1148539"/>
                <a:gd name="connsiteY4" fmla="*/ 162801 h 208904"/>
                <a:gd name="connsiteX5" fmla="*/ 1102436 w 1148539"/>
                <a:gd name="connsiteY5" fmla="*/ 208904 h 208904"/>
                <a:gd name="connsiteX6" fmla="*/ 46103 w 1148539"/>
                <a:gd name="connsiteY6" fmla="*/ 208904 h 208904"/>
                <a:gd name="connsiteX7" fmla="*/ 0 w 1148539"/>
                <a:gd name="connsiteY7" fmla="*/ 162801 h 208904"/>
                <a:gd name="connsiteX8" fmla="*/ 0 w 1148539"/>
                <a:gd name="connsiteY8" fmla="*/ 46103 h 208904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1102436 w 1148539"/>
                <a:gd name="connsiteY2" fmla="*/ 127962 h 336866"/>
                <a:gd name="connsiteX3" fmla="*/ 1148539 w 1148539"/>
                <a:gd name="connsiteY3" fmla="*/ 174065 h 336866"/>
                <a:gd name="connsiteX4" fmla="*/ 1148539 w 1148539"/>
                <a:gd name="connsiteY4" fmla="*/ 290763 h 336866"/>
                <a:gd name="connsiteX5" fmla="*/ 1102436 w 1148539"/>
                <a:gd name="connsiteY5" fmla="*/ 336866 h 336866"/>
                <a:gd name="connsiteX6" fmla="*/ 46103 w 1148539"/>
                <a:gd name="connsiteY6" fmla="*/ 336866 h 336866"/>
                <a:gd name="connsiteX7" fmla="*/ 0 w 1148539"/>
                <a:gd name="connsiteY7" fmla="*/ 290763 h 336866"/>
                <a:gd name="connsiteX8" fmla="*/ 0 w 1148539"/>
                <a:gd name="connsiteY8" fmla="*/ 174065 h 336866"/>
                <a:gd name="connsiteX0" fmla="*/ 0 w 1148539"/>
                <a:gd name="connsiteY0" fmla="*/ 181203 h 344004"/>
                <a:gd name="connsiteX1" fmla="*/ 32774 w 1148539"/>
                <a:gd name="connsiteY1" fmla="*/ 7138 h 344004"/>
                <a:gd name="connsiteX2" fmla="*/ 439066 w 1148539"/>
                <a:gd name="connsiteY2" fmla="*/ 43434 h 344004"/>
                <a:gd name="connsiteX3" fmla="*/ 1102436 w 1148539"/>
                <a:gd name="connsiteY3" fmla="*/ 135100 h 344004"/>
                <a:gd name="connsiteX4" fmla="*/ 1148539 w 1148539"/>
                <a:gd name="connsiteY4" fmla="*/ 181203 h 344004"/>
                <a:gd name="connsiteX5" fmla="*/ 1148539 w 1148539"/>
                <a:gd name="connsiteY5" fmla="*/ 297901 h 344004"/>
                <a:gd name="connsiteX6" fmla="*/ 1102436 w 1148539"/>
                <a:gd name="connsiteY6" fmla="*/ 344004 h 344004"/>
                <a:gd name="connsiteX7" fmla="*/ 46103 w 1148539"/>
                <a:gd name="connsiteY7" fmla="*/ 344004 h 344004"/>
                <a:gd name="connsiteX8" fmla="*/ 0 w 1148539"/>
                <a:gd name="connsiteY8" fmla="*/ 297901 h 344004"/>
                <a:gd name="connsiteX9" fmla="*/ 0 w 1148539"/>
                <a:gd name="connsiteY9" fmla="*/ 181203 h 344004"/>
                <a:gd name="connsiteX0" fmla="*/ 0 w 1148539"/>
                <a:gd name="connsiteY0" fmla="*/ 177203 h 340004"/>
                <a:gd name="connsiteX1" fmla="*/ 32774 w 1148539"/>
                <a:gd name="connsiteY1" fmla="*/ 3138 h 340004"/>
                <a:gd name="connsiteX2" fmla="*/ 420405 w 1148539"/>
                <a:gd name="connsiteY2" fmla="*/ 111413 h 340004"/>
                <a:gd name="connsiteX3" fmla="*/ 1102436 w 1148539"/>
                <a:gd name="connsiteY3" fmla="*/ 131100 h 340004"/>
                <a:gd name="connsiteX4" fmla="*/ 1148539 w 1148539"/>
                <a:gd name="connsiteY4" fmla="*/ 177203 h 340004"/>
                <a:gd name="connsiteX5" fmla="*/ 1148539 w 1148539"/>
                <a:gd name="connsiteY5" fmla="*/ 293901 h 340004"/>
                <a:gd name="connsiteX6" fmla="*/ 1102436 w 1148539"/>
                <a:gd name="connsiteY6" fmla="*/ 340004 h 340004"/>
                <a:gd name="connsiteX7" fmla="*/ 46103 w 1148539"/>
                <a:gd name="connsiteY7" fmla="*/ 340004 h 340004"/>
                <a:gd name="connsiteX8" fmla="*/ 0 w 1148539"/>
                <a:gd name="connsiteY8" fmla="*/ 293901 h 340004"/>
                <a:gd name="connsiteX9" fmla="*/ 0 w 1148539"/>
                <a:gd name="connsiteY9" fmla="*/ 177203 h 340004"/>
                <a:gd name="connsiteX0" fmla="*/ 0 w 1148539"/>
                <a:gd name="connsiteY0" fmla="*/ 177203 h 340004"/>
                <a:gd name="connsiteX1" fmla="*/ 32774 w 1148539"/>
                <a:gd name="connsiteY1" fmla="*/ 3138 h 340004"/>
                <a:gd name="connsiteX2" fmla="*/ 420405 w 1148539"/>
                <a:gd name="connsiteY2" fmla="*/ 111413 h 340004"/>
                <a:gd name="connsiteX3" fmla="*/ 1102436 w 1148539"/>
                <a:gd name="connsiteY3" fmla="*/ 131100 h 340004"/>
                <a:gd name="connsiteX4" fmla="*/ 1148539 w 1148539"/>
                <a:gd name="connsiteY4" fmla="*/ 177203 h 340004"/>
                <a:gd name="connsiteX5" fmla="*/ 1148539 w 1148539"/>
                <a:gd name="connsiteY5" fmla="*/ 293901 h 340004"/>
                <a:gd name="connsiteX6" fmla="*/ 1102436 w 1148539"/>
                <a:gd name="connsiteY6" fmla="*/ 340004 h 340004"/>
                <a:gd name="connsiteX7" fmla="*/ 46103 w 1148539"/>
                <a:gd name="connsiteY7" fmla="*/ 340004 h 340004"/>
                <a:gd name="connsiteX8" fmla="*/ 0 w 1148539"/>
                <a:gd name="connsiteY8" fmla="*/ 293901 h 340004"/>
                <a:gd name="connsiteX9" fmla="*/ 0 w 1148539"/>
                <a:gd name="connsiteY9" fmla="*/ 177203 h 340004"/>
                <a:gd name="connsiteX0" fmla="*/ 0 w 1148539"/>
                <a:gd name="connsiteY0" fmla="*/ 176851 h 339652"/>
                <a:gd name="connsiteX1" fmla="*/ 32774 w 1148539"/>
                <a:gd name="connsiteY1" fmla="*/ 2786 h 339652"/>
                <a:gd name="connsiteX2" fmla="*/ 460393 w 1148539"/>
                <a:gd name="connsiteY2" fmla="*/ 127056 h 339652"/>
                <a:gd name="connsiteX3" fmla="*/ 1102436 w 1148539"/>
                <a:gd name="connsiteY3" fmla="*/ 130748 h 339652"/>
                <a:gd name="connsiteX4" fmla="*/ 1148539 w 1148539"/>
                <a:gd name="connsiteY4" fmla="*/ 176851 h 339652"/>
                <a:gd name="connsiteX5" fmla="*/ 1148539 w 1148539"/>
                <a:gd name="connsiteY5" fmla="*/ 293549 h 339652"/>
                <a:gd name="connsiteX6" fmla="*/ 1102436 w 1148539"/>
                <a:gd name="connsiteY6" fmla="*/ 339652 h 339652"/>
                <a:gd name="connsiteX7" fmla="*/ 46103 w 1148539"/>
                <a:gd name="connsiteY7" fmla="*/ 339652 h 339652"/>
                <a:gd name="connsiteX8" fmla="*/ 0 w 1148539"/>
                <a:gd name="connsiteY8" fmla="*/ 293549 h 339652"/>
                <a:gd name="connsiteX9" fmla="*/ 0 w 1148539"/>
                <a:gd name="connsiteY9" fmla="*/ 176851 h 339652"/>
                <a:gd name="connsiteX0" fmla="*/ 0 w 1148539"/>
                <a:gd name="connsiteY0" fmla="*/ 177016 h 339817"/>
                <a:gd name="connsiteX1" fmla="*/ 32774 w 1148539"/>
                <a:gd name="connsiteY1" fmla="*/ 2951 h 339817"/>
                <a:gd name="connsiteX2" fmla="*/ 449729 w 1148539"/>
                <a:gd name="connsiteY2" fmla="*/ 119223 h 339817"/>
                <a:gd name="connsiteX3" fmla="*/ 1102436 w 1148539"/>
                <a:gd name="connsiteY3" fmla="*/ 130913 h 339817"/>
                <a:gd name="connsiteX4" fmla="*/ 1148539 w 1148539"/>
                <a:gd name="connsiteY4" fmla="*/ 177016 h 339817"/>
                <a:gd name="connsiteX5" fmla="*/ 1148539 w 1148539"/>
                <a:gd name="connsiteY5" fmla="*/ 293714 h 339817"/>
                <a:gd name="connsiteX6" fmla="*/ 1102436 w 1148539"/>
                <a:gd name="connsiteY6" fmla="*/ 339817 h 339817"/>
                <a:gd name="connsiteX7" fmla="*/ 46103 w 1148539"/>
                <a:gd name="connsiteY7" fmla="*/ 339817 h 339817"/>
                <a:gd name="connsiteX8" fmla="*/ 0 w 1148539"/>
                <a:gd name="connsiteY8" fmla="*/ 293714 h 339817"/>
                <a:gd name="connsiteX9" fmla="*/ 0 w 1148539"/>
                <a:gd name="connsiteY9" fmla="*/ 177016 h 339817"/>
                <a:gd name="connsiteX0" fmla="*/ 0 w 1148539"/>
                <a:gd name="connsiteY0" fmla="*/ 184405 h 347206"/>
                <a:gd name="connsiteX1" fmla="*/ 32774 w 1148539"/>
                <a:gd name="connsiteY1" fmla="*/ 10340 h 347206"/>
                <a:gd name="connsiteX2" fmla="*/ 449729 w 1148539"/>
                <a:gd name="connsiteY2" fmla="*/ 126612 h 347206"/>
                <a:gd name="connsiteX3" fmla="*/ 1102436 w 1148539"/>
                <a:gd name="connsiteY3" fmla="*/ 138302 h 347206"/>
                <a:gd name="connsiteX4" fmla="*/ 1148539 w 1148539"/>
                <a:gd name="connsiteY4" fmla="*/ 184405 h 347206"/>
                <a:gd name="connsiteX5" fmla="*/ 1148539 w 1148539"/>
                <a:gd name="connsiteY5" fmla="*/ 301103 h 347206"/>
                <a:gd name="connsiteX6" fmla="*/ 1102436 w 1148539"/>
                <a:gd name="connsiteY6" fmla="*/ 347206 h 347206"/>
                <a:gd name="connsiteX7" fmla="*/ 46103 w 1148539"/>
                <a:gd name="connsiteY7" fmla="*/ 347206 h 347206"/>
                <a:gd name="connsiteX8" fmla="*/ 0 w 1148539"/>
                <a:gd name="connsiteY8" fmla="*/ 301103 h 347206"/>
                <a:gd name="connsiteX9" fmla="*/ 0 w 1148539"/>
                <a:gd name="connsiteY9" fmla="*/ 184405 h 347206"/>
                <a:gd name="connsiteX0" fmla="*/ 0 w 1148539"/>
                <a:gd name="connsiteY0" fmla="*/ 183498 h 346299"/>
                <a:gd name="connsiteX1" fmla="*/ 32774 w 1148539"/>
                <a:gd name="connsiteY1" fmla="*/ 9433 h 346299"/>
                <a:gd name="connsiteX2" fmla="*/ 455060 w 1148539"/>
                <a:gd name="connsiteY2" fmla="*/ 131037 h 346299"/>
                <a:gd name="connsiteX3" fmla="*/ 1102436 w 1148539"/>
                <a:gd name="connsiteY3" fmla="*/ 137395 h 346299"/>
                <a:gd name="connsiteX4" fmla="*/ 1148539 w 1148539"/>
                <a:gd name="connsiteY4" fmla="*/ 183498 h 346299"/>
                <a:gd name="connsiteX5" fmla="*/ 1148539 w 1148539"/>
                <a:gd name="connsiteY5" fmla="*/ 300196 h 346299"/>
                <a:gd name="connsiteX6" fmla="*/ 1102436 w 1148539"/>
                <a:gd name="connsiteY6" fmla="*/ 346299 h 346299"/>
                <a:gd name="connsiteX7" fmla="*/ 46103 w 1148539"/>
                <a:gd name="connsiteY7" fmla="*/ 346299 h 346299"/>
                <a:gd name="connsiteX8" fmla="*/ 0 w 1148539"/>
                <a:gd name="connsiteY8" fmla="*/ 300196 h 346299"/>
                <a:gd name="connsiteX9" fmla="*/ 0 w 1148539"/>
                <a:gd name="connsiteY9" fmla="*/ 183498 h 346299"/>
                <a:gd name="connsiteX0" fmla="*/ 0 w 1148539"/>
                <a:gd name="connsiteY0" fmla="*/ 183085 h 345886"/>
                <a:gd name="connsiteX1" fmla="*/ 32774 w 1148539"/>
                <a:gd name="connsiteY1" fmla="*/ 9020 h 345886"/>
                <a:gd name="connsiteX2" fmla="*/ 452394 w 1148539"/>
                <a:gd name="connsiteY2" fmla="*/ 133290 h 345886"/>
                <a:gd name="connsiteX3" fmla="*/ 1102436 w 1148539"/>
                <a:gd name="connsiteY3" fmla="*/ 136982 h 345886"/>
                <a:gd name="connsiteX4" fmla="*/ 1148539 w 1148539"/>
                <a:gd name="connsiteY4" fmla="*/ 183085 h 345886"/>
                <a:gd name="connsiteX5" fmla="*/ 1148539 w 1148539"/>
                <a:gd name="connsiteY5" fmla="*/ 299783 h 345886"/>
                <a:gd name="connsiteX6" fmla="*/ 1102436 w 1148539"/>
                <a:gd name="connsiteY6" fmla="*/ 345886 h 345886"/>
                <a:gd name="connsiteX7" fmla="*/ 46103 w 1148539"/>
                <a:gd name="connsiteY7" fmla="*/ 345886 h 345886"/>
                <a:gd name="connsiteX8" fmla="*/ 0 w 1148539"/>
                <a:gd name="connsiteY8" fmla="*/ 299783 h 345886"/>
                <a:gd name="connsiteX9" fmla="*/ 0 w 1148539"/>
                <a:gd name="connsiteY9" fmla="*/ 183085 h 345886"/>
                <a:gd name="connsiteX0" fmla="*/ 0 w 1148539"/>
                <a:gd name="connsiteY0" fmla="*/ 183085 h 345886"/>
                <a:gd name="connsiteX1" fmla="*/ 32774 w 1148539"/>
                <a:gd name="connsiteY1" fmla="*/ 9020 h 345886"/>
                <a:gd name="connsiteX2" fmla="*/ 452394 w 1148539"/>
                <a:gd name="connsiteY2" fmla="*/ 133290 h 345886"/>
                <a:gd name="connsiteX3" fmla="*/ 1102436 w 1148539"/>
                <a:gd name="connsiteY3" fmla="*/ 136982 h 345886"/>
                <a:gd name="connsiteX4" fmla="*/ 1148539 w 1148539"/>
                <a:gd name="connsiteY4" fmla="*/ 183085 h 345886"/>
                <a:gd name="connsiteX5" fmla="*/ 1148539 w 1148539"/>
                <a:gd name="connsiteY5" fmla="*/ 299783 h 345886"/>
                <a:gd name="connsiteX6" fmla="*/ 1102436 w 1148539"/>
                <a:gd name="connsiteY6" fmla="*/ 345886 h 345886"/>
                <a:gd name="connsiteX7" fmla="*/ 46103 w 1148539"/>
                <a:gd name="connsiteY7" fmla="*/ 345886 h 345886"/>
                <a:gd name="connsiteX8" fmla="*/ 0 w 1148539"/>
                <a:gd name="connsiteY8" fmla="*/ 299783 h 345886"/>
                <a:gd name="connsiteX9" fmla="*/ 0 w 1148539"/>
                <a:gd name="connsiteY9" fmla="*/ 183085 h 345886"/>
                <a:gd name="connsiteX0" fmla="*/ 0 w 1148539"/>
                <a:gd name="connsiteY0" fmla="*/ 182809 h 345610"/>
                <a:gd name="connsiteX1" fmla="*/ 32774 w 1148539"/>
                <a:gd name="connsiteY1" fmla="*/ 8744 h 345610"/>
                <a:gd name="connsiteX2" fmla="*/ 351092 w 1148539"/>
                <a:gd name="connsiteY2" fmla="*/ 37043 h 345610"/>
                <a:gd name="connsiteX3" fmla="*/ 452394 w 1148539"/>
                <a:gd name="connsiteY3" fmla="*/ 133014 h 345610"/>
                <a:gd name="connsiteX4" fmla="*/ 1102436 w 1148539"/>
                <a:gd name="connsiteY4" fmla="*/ 136706 h 345610"/>
                <a:gd name="connsiteX5" fmla="*/ 1148539 w 1148539"/>
                <a:gd name="connsiteY5" fmla="*/ 182809 h 345610"/>
                <a:gd name="connsiteX6" fmla="*/ 1148539 w 1148539"/>
                <a:gd name="connsiteY6" fmla="*/ 299507 h 345610"/>
                <a:gd name="connsiteX7" fmla="*/ 1102436 w 1148539"/>
                <a:gd name="connsiteY7" fmla="*/ 345610 h 345610"/>
                <a:gd name="connsiteX8" fmla="*/ 46103 w 1148539"/>
                <a:gd name="connsiteY8" fmla="*/ 345610 h 345610"/>
                <a:gd name="connsiteX9" fmla="*/ 0 w 1148539"/>
                <a:gd name="connsiteY9" fmla="*/ 299507 h 345610"/>
                <a:gd name="connsiteX10" fmla="*/ 0 w 1148539"/>
                <a:gd name="connsiteY10" fmla="*/ 182809 h 345610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52394 w 1148539"/>
                <a:gd name="connsiteY3" fmla="*/ 133466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79052 w 1148539"/>
                <a:gd name="connsiteY3" fmla="*/ 130800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79052 w 1148539"/>
                <a:gd name="connsiteY3" fmla="*/ 130800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73721 w 1148539"/>
                <a:gd name="connsiteY3" fmla="*/ 130800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6330 h 349131"/>
                <a:gd name="connsiteX1" fmla="*/ 32774 w 1148539"/>
                <a:gd name="connsiteY1" fmla="*/ 12265 h 349131"/>
                <a:gd name="connsiteX2" fmla="*/ 391080 w 1148539"/>
                <a:gd name="connsiteY2" fmla="*/ 24568 h 349131"/>
                <a:gd name="connsiteX3" fmla="*/ 473721 w 1148539"/>
                <a:gd name="connsiteY3" fmla="*/ 133869 h 349131"/>
                <a:gd name="connsiteX4" fmla="*/ 1102436 w 1148539"/>
                <a:gd name="connsiteY4" fmla="*/ 140227 h 349131"/>
                <a:gd name="connsiteX5" fmla="*/ 1148539 w 1148539"/>
                <a:gd name="connsiteY5" fmla="*/ 186330 h 349131"/>
                <a:gd name="connsiteX6" fmla="*/ 1148539 w 1148539"/>
                <a:gd name="connsiteY6" fmla="*/ 303028 h 349131"/>
                <a:gd name="connsiteX7" fmla="*/ 1102436 w 1148539"/>
                <a:gd name="connsiteY7" fmla="*/ 349131 h 349131"/>
                <a:gd name="connsiteX8" fmla="*/ 46103 w 1148539"/>
                <a:gd name="connsiteY8" fmla="*/ 349131 h 349131"/>
                <a:gd name="connsiteX9" fmla="*/ 0 w 1148539"/>
                <a:gd name="connsiteY9" fmla="*/ 303028 h 349131"/>
                <a:gd name="connsiteX10" fmla="*/ 0 w 1148539"/>
                <a:gd name="connsiteY10" fmla="*/ 186330 h 349131"/>
                <a:gd name="connsiteX0" fmla="*/ 0 w 1148539"/>
                <a:gd name="connsiteY0" fmla="*/ 187012 h 349813"/>
                <a:gd name="connsiteX1" fmla="*/ 32774 w 1148539"/>
                <a:gd name="connsiteY1" fmla="*/ 12947 h 349813"/>
                <a:gd name="connsiteX2" fmla="*/ 391080 w 1148539"/>
                <a:gd name="connsiteY2" fmla="*/ 25250 h 349813"/>
                <a:gd name="connsiteX3" fmla="*/ 473721 w 1148539"/>
                <a:gd name="connsiteY3" fmla="*/ 134551 h 349813"/>
                <a:gd name="connsiteX4" fmla="*/ 1102436 w 1148539"/>
                <a:gd name="connsiteY4" fmla="*/ 140909 h 349813"/>
                <a:gd name="connsiteX5" fmla="*/ 1148539 w 1148539"/>
                <a:gd name="connsiteY5" fmla="*/ 187012 h 349813"/>
                <a:gd name="connsiteX6" fmla="*/ 1148539 w 1148539"/>
                <a:gd name="connsiteY6" fmla="*/ 303710 h 349813"/>
                <a:gd name="connsiteX7" fmla="*/ 1102436 w 1148539"/>
                <a:gd name="connsiteY7" fmla="*/ 349813 h 349813"/>
                <a:gd name="connsiteX8" fmla="*/ 46103 w 1148539"/>
                <a:gd name="connsiteY8" fmla="*/ 349813 h 349813"/>
                <a:gd name="connsiteX9" fmla="*/ 0 w 1148539"/>
                <a:gd name="connsiteY9" fmla="*/ 303710 h 349813"/>
                <a:gd name="connsiteX10" fmla="*/ 0 w 1148539"/>
                <a:gd name="connsiteY10" fmla="*/ 187012 h 349813"/>
                <a:gd name="connsiteX0" fmla="*/ 0 w 1148539"/>
                <a:gd name="connsiteY0" fmla="*/ 187012 h 349813"/>
                <a:gd name="connsiteX1" fmla="*/ 32774 w 1148539"/>
                <a:gd name="connsiteY1" fmla="*/ 12947 h 349813"/>
                <a:gd name="connsiteX2" fmla="*/ 391080 w 1148539"/>
                <a:gd name="connsiteY2" fmla="*/ 25250 h 349813"/>
                <a:gd name="connsiteX3" fmla="*/ 473721 w 1148539"/>
                <a:gd name="connsiteY3" fmla="*/ 134551 h 349813"/>
                <a:gd name="connsiteX4" fmla="*/ 1102436 w 1148539"/>
                <a:gd name="connsiteY4" fmla="*/ 140909 h 349813"/>
                <a:gd name="connsiteX5" fmla="*/ 1148539 w 1148539"/>
                <a:gd name="connsiteY5" fmla="*/ 187012 h 349813"/>
                <a:gd name="connsiteX6" fmla="*/ 1148539 w 1148539"/>
                <a:gd name="connsiteY6" fmla="*/ 303710 h 349813"/>
                <a:gd name="connsiteX7" fmla="*/ 1102436 w 1148539"/>
                <a:gd name="connsiteY7" fmla="*/ 349813 h 349813"/>
                <a:gd name="connsiteX8" fmla="*/ 46103 w 1148539"/>
                <a:gd name="connsiteY8" fmla="*/ 349813 h 349813"/>
                <a:gd name="connsiteX9" fmla="*/ 0 w 1148539"/>
                <a:gd name="connsiteY9" fmla="*/ 303710 h 349813"/>
                <a:gd name="connsiteX10" fmla="*/ 0 w 1148539"/>
                <a:gd name="connsiteY10" fmla="*/ 187012 h 349813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391080 w 1148539"/>
                <a:gd name="connsiteY2" fmla="*/ 12303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0 w 1148539"/>
                <a:gd name="connsiteY0" fmla="*/ 180423 h 343224"/>
                <a:gd name="connsiteX1" fmla="*/ 32774 w 1148539"/>
                <a:gd name="connsiteY1" fmla="*/ 6358 h 343224"/>
                <a:gd name="connsiteX2" fmla="*/ 380416 w 1148539"/>
                <a:gd name="connsiteY2" fmla="*/ 0 h 343224"/>
                <a:gd name="connsiteX3" fmla="*/ 473721 w 1148539"/>
                <a:gd name="connsiteY3" fmla="*/ 127962 h 343224"/>
                <a:gd name="connsiteX4" fmla="*/ 1102436 w 1148539"/>
                <a:gd name="connsiteY4" fmla="*/ 134320 h 343224"/>
                <a:gd name="connsiteX5" fmla="*/ 1148539 w 1148539"/>
                <a:gd name="connsiteY5" fmla="*/ 180423 h 343224"/>
                <a:gd name="connsiteX6" fmla="*/ 1148539 w 1148539"/>
                <a:gd name="connsiteY6" fmla="*/ 297121 h 343224"/>
                <a:gd name="connsiteX7" fmla="*/ 1102436 w 1148539"/>
                <a:gd name="connsiteY7" fmla="*/ 343224 h 343224"/>
                <a:gd name="connsiteX8" fmla="*/ 46103 w 1148539"/>
                <a:gd name="connsiteY8" fmla="*/ 343224 h 343224"/>
                <a:gd name="connsiteX9" fmla="*/ 0 w 1148539"/>
                <a:gd name="connsiteY9" fmla="*/ 297121 h 343224"/>
                <a:gd name="connsiteX10" fmla="*/ 0 w 1148539"/>
                <a:gd name="connsiteY10" fmla="*/ 180423 h 343224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383082 w 1148539"/>
                <a:gd name="connsiteY2" fmla="*/ 4306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385748 w 1148539"/>
                <a:gd name="connsiteY2" fmla="*/ 1640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0 w 1148539"/>
                <a:gd name="connsiteY0" fmla="*/ 174065 h 336866"/>
                <a:gd name="connsiteX1" fmla="*/ 86092 w 1148539"/>
                <a:gd name="connsiteY1" fmla="*/ 0 h 336866"/>
                <a:gd name="connsiteX2" fmla="*/ 385748 w 1148539"/>
                <a:gd name="connsiteY2" fmla="*/ 1640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2666 w 1148539"/>
                <a:gd name="connsiteY0" fmla="*/ 75427 h 336866"/>
                <a:gd name="connsiteX1" fmla="*/ 86092 w 1148539"/>
                <a:gd name="connsiteY1" fmla="*/ 0 h 336866"/>
                <a:gd name="connsiteX2" fmla="*/ 385748 w 1148539"/>
                <a:gd name="connsiteY2" fmla="*/ 1640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2666 w 1148539"/>
                <a:gd name="connsiteY10" fmla="*/ 75427 h 336866"/>
                <a:gd name="connsiteX0" fmla="*/ 2666 w 1148539"/>
                <a:gd name="connsiteY0" fmla="*/ 78093 h 339532"/>
                <a:gd name="connsiteX1" fmla="*/ 46103 w 1148539"/>
                <a:gd name="connsiteY1" fmla="*/ 0 h 339532"/>
                <a:gd name="connsiteX2" fmla="*/ 385748 w 1148539"/>
                <a:gd name="connsiteY2" fmla="*/ 4306 h 339532"/>
                <a:gd name="connsiteX3" fmla="*/ 473721 w 1148539"/>
                <a:gd name="connsiteY3" fmla="*/ 124270 h 339532"/>
                <a:gd name="connsiteX4" fmla="*/ 1102436 w 1148539"/>
                <a:gd name="connsiteY4" fmla="*/ 130628 h 339532"/>
                <a:gd name="connsiteX5" fmla="*/ 1148539 w 1148539"/>
                <a:gd name="connsiteY5" fmla="*/ 176731 h 339532"/>
                <a:gd name="connsiteX6" fmla="*/ 1148539 w 1148539"/>
                <a:gd name="connsiteY6" fmla="*/ 293429 h 339532"/>
                <a:gd name="connsiteX7" fmla="*/ 1102436 w 1148539"/>
                <a:gd name="connsiteY7" fmla="*/ 339532 h 339532"/>
                <a:gd name="connsiteX8" fmla="*/ 46103 w 1148539"/>
                <a:gd name="connsiteY8" fmla="*/ 339532 h 339532"/>
                <a:gd name="connsiteX9" fmla="*/ 0 w 1148539"/>
                <a:gd name="connsiteY9" fmla="*/ 293429 h 339532"/>
                <a:gd name="connsiteX10" fmla="*/ 2666 w 1148539"/>
                <a:gd name="connsiteY10" fmla="*/ 78093 h 339532"/>
                <a:gd name="connsiteX0" fmla="*/ 2666 w 1148539"/>
                <a:gd name="connsiteY0" fmla="*/ 78093 h 339532"/>
                <a:gd name="connsiteX1" fmla="*/ 46103 w 1148539"/>
                <a:gd name="connsiteY1" fmla="*/ 0 h 339532"/>
                <a:gd name="connsiteX2" fmla="*/ 385748 w 1148539"/>
                <a:gd name="connsiteY2" fmla="*/ 4306 h 339532"/>
                <a:gd name="connsiteX3" fmla="*/ 473721 w 1148539"/>
                <a:gd name="connsiteY3" fmla="*/ 124270 h 339532"/>
                <a:gd name="connsiteX4" fmla="*/ 1102436 w 1148539"/>
                <a:gd name="connsiteY4" fmla="*/ 130628 h 339532"/>
                <a:gd name="connsiteX5" fmla="*/ 1148539 w 1148539"/>
                <a:gd name="connsiteY5" fmla="*/ 176731 h 339532"/>
                <a:gd name="connsiteX6" fmla="*/ 1148539 w 1148539"/>
                <a:gd name="connsiteY6" fmla="*/ 293429 h 339532"/>
                <a:gd name="connsiteX7" fmla="*/ 1102436 w 1148539"/>
                <a:gd name="connsiteY7" fmla="*/ 339532 h 339532"/>
                <a:gd name="connsiteX8" fmla="*/ 46103 w 1148539"/>
                <a:gd name="connsiteY8" fmla="*/ 339532 h 339532"/>
                <a:gd name="connsiteX9" fmla="*/ 0 w 1148539"/>
                <a:gd name="connsiteY9" fmla="*/ 293429 h 339532"/>
                <a:gd name="connsiteX10" fmla="*/ 2666 w 1148539"/>
                <a:gd name="connsiteY10" fmla="*/ 78093 h 33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8539" h="339532">
                  <a:moveTo>
                    <a:pt x="2666" y="78093"/>
                  </a:moveTo>
                  <a:cubicBezTo>
                    <a:pt x="-2666" y="25972"/>
                    <a:pt x="20641" y="0"/>
                    <a:pt x="46103" y="0"/>
                  </a:cubicBezTo>
                  <a:lnTo>
                    <a:pt x="385748" y="4306"/>
                  </a:lnTo>
                  <a:cubicBezTo>
                    <a:pt x="426361" y="14355"/>
                    <a:pt x="404480" y="126320"/>
                    <a:pt x="473721" y="124270"/>
                  </a:cubicBezTo>
                  <a:lnTo>
                    <a:pt x="1102436" y="130628"/>
                  </a:lnTo>
                  <a:cubicBezTo>
                    <a:pt x="1127898" y="130628"/>
                    <a:pt x="1148539" y="151269"/>
                    <a:pt x="1148539" y="176731"/>
                  </a:cubicBezTo>
                  <a:lnTo>
                    <a:pt x="1148539" y="293429"/>
                  </a:lnTo>
                  <a:cubicBezTo>
                    <a:pt x="1148539" y="318891"/>
                    <a:pt x="1127898" y="339532"/>
                    <a:pt x="1102436" y="339532"/>
                  </a:cubicBezTo>
                  <a:lnTo>
                    <a:pt x="46103" y="339532"/>
                  </a:lnTo>
                  <a:cubicBezTo>
                    <a:pt x="20641" y="339532"/>
                    <a:pt x="0" y="318891"/>
                    <a:pt x="0" y="293429"/>
                  </a:cubicBezTo>
                  <a:cubicBezTo>
                    <a:pt x="889" y="221650"/>
                    <a:pt x="1777" y="149872"/>
                    <a:pt x="2666" y="7809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8867542" y="5768666"/>
              <a:ext cx="139135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8394139" y="5886743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4401471" y="3068960"/>
            <a:ext cx="863295" cy="378007"/>
            <a:chOff x="8675651" y="785072"/>
            <a:chExt cx="2990791" cy="1309564"/>
          </a:xfrm>
          <a:solidFill>
            <a:schemeClr val="accent5">
              <a:lumMod val="75000"/>
            </a:schemeClr>
          </a:solidFill>
        </p:grpSpPr>
        <p:sp>
          <p:nvSpPr>
            <p:cNvPr id="94" name="Freeform 93"/>
            <p:cNvSpPr/>
            <p:nvPr/>
          </p:nvSpPr>
          <p:spPr>
            <a:xfrm flipH="1">
              <a:off x="8675651" y="937614"/>
              <a:ext cx="2990791" cy="1157022"/>
            </a:xfrm>
            <a:custGeom>
              <a:avLst/>
              <a:gdLst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12466 w 5933552"/>
                <a:gd name="connsiteY72" fmla="*/ 1627833 h 1934308"/>
                <a:gd name="connsiteX73" fmla="*/ 497393 w 5933552"/>
                <a:gd name="connsiteY73" fmla="*/ 1753437 h 1934308"/>
                <a:gd name="connsiteX74" fmla="*/ 507442 w 5933552"/>
                <a:gd name="connsiteY74" fmla="*/ 1833824 h 1934308"/>
                <a:gd name="connsiteX75" fmla="*/ 281354 w 5933552"/>
                <a:gd name="connsiteY75" fmla="*/ 1833824 h 1934308"/>
                <a:gd name="connsiteX76" fmla="*/ 130629 w 5933552"/>
                <a:gd name="connsiteY76" fmla="*/ 1758461 h 1934308"/>
                <a:gd name="connsiteX77" fmla="*/ 10048 w 5933552"/>
                <a:gd name="connsiteY77" fmla="*/ 1678075 h 1934308"/>
                <a:gd name="connsiteX78" fmla="*/ 0 w 5933552"/>
                <a:gd name="connsiteY78" fmla="*/ 1537398 h 1934308"/>
                <a:gd name="connsiteX79" fmla="*/ 15072 w 5933552"/>
                <a:gd name="connsiteY79" fmla="*/ 1487156 h 1934308"/>
                <a:gd name="connsiteX80" fmla="*/ 15072 w 5933552"/>
                <a:gd name="connsiteY80" fmla="*/ 1431890 h 1934308"/>
                <a:gd name="connsiteX81" fmla="*/ 25121 w 5933552"/>
                <a:gd name="connsiteY81" fmla="*/ 1381648 h 1934308"/>
                <a:gd name="connsiteX82" fmla="*/ 40193 w 5933552"/>
                <a:gd name="connsiteY82" fmla="*/ 1356527 h 1934308"/>
                <a:gd name="connsiteX83" fmla="*/ 65314 w 5933552"/>
                <a:gd name="connsiteY8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12466 w 5933552"/>
                <a:gd name="connsiteY71" fmla="*/ 1627833 h 1934308"/>
                <a:gd name="connsiteX72" fmla="*/ 497393 w 5933552"/>
                <a:gd name="connsiteY72" fmla="*/ 1753437 h 1934308"/>
                <a:gd name="connsiteX73" fmla="*/ 507442 w 5933552"/>
                <a:gd name="connsiteY73" fmla="*/ 1833824 h 1934308"/>
                <a:gd name="connsiteX74" fmla="*/ 281354 w 5933552"/>
                <a:gd name="connsiteY74" fmla="*/ 1833824 h 1934308"/>
                <a:gd name="connsiteX75" fmla="*/ 130629 w 5933552"/>
                <a:gd name="connsiteY75" fmla="*/ 1758461 h 1934308"/>
                <a:gd name="connsiteX76" fmla="*/ 10048 w 5933552"/>
                <a:gd name="connsiteY76" fmla="*/ 1678075 h 1934308"/>
                <a:gd name="connsiteX77" fmla="*/ 0 w 5933552"/>
                <a:gd name="connsiteY77" fmla="*/ 1537398 h 1934308"/>
                <a:gd name="connsiteX78" fmla="*/ 15072 w 5933552"/>
                <a:gd name="connsiteY78" fmla="*/ 1487156 h 1934308"/>
                <a:gd name="connsiteX79" fmla="*/ 15072 w 5933552"/>
                <a:gd name="connsiteY79" fmla="*/ 1431890 h 1934308"/>
                <a:gd name="connsiteX80" fmla="*/ 25121 w 5933552"/>
                <a:gd name="connsiteY80" fmla="*/ 1381648 h 1934308"/>
                <a:gd name="connsiteX81" fmla="*/ 40193 w 5933552"/>
                <a:gd name="connsiteY81" fmla="*/ 1356527 h 1934308"/>
                <a:gd name="connsiteX82" fmla="*/ 65314 w 5933552"/>
                <a:gd name="connsiteY8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497393 w 5933552"/>
                <a:gd name="connsiteY71" fmla="*/ 1753437 h 1934308"/>
                <a:gd name="connsiteX72" fmla="*/ 507442 w 5933552"/>
                <a:gd name="connsiteY72" fmla="*/ 1833824 h 1934308"/>
                <a:gd name="connsiteX73" fmla="*/ 281354 w 5933552"/>
                <a:gd name="connsiteY73" fmla="*/ 1833824 h 1934308"/>
                <a:gd name="connsiteX74" fmla="*/ 130629 w 5933552"/>
                <a:gd name="connsiteY74" fmla="*/ 1758461 h 1934308"/>
                <a:gd name="connsiteX75" fmla="*/ 10048 w 5933552"/>
                <a:gd name="connsiteY75" fmla="*/ 1678075 h 1934308"/>
                <a:gd name="connsiteX76" fmla="*/ 0 w 5933552"/>
                <a:gd name="connsiteY76" fmla="*/ 1537398 h 1934308"/>
                <a:gd name="connsiteX77" fmla="*/ 15072 w 5933552"/>
                <a:gd name="connsiteY77" fmla="*/ 1487156 h 1934308"/>
                <a:gd name="connsiteX78" fmla="*/ 15072 w 5933552"/>
                <a:gd name="connsiteY78" fmla="*/ 1431890 h 1934308"/>
                <a:gd name="connsiteX79" fmla="*/ 25121 w 5933552"/>
                <a:gd name="connsiteY79" fmla="*/ 1381648 h 1934308"/>
                <a:gd name="connsiteX80" fmla="*/ 40193 w 5933552"/>
                <a:gd name="connsiteY80" fmla="*/ 1356527 h 1934308"/>
                <a:gd name="connsiteX81" fmla="*/ 65314 w 5933552"/>
                <a:gd name="connsiteY8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07442 w 5933552"/>
                <a:gd name="connsiteY71" fmla="*/ 1833824 h 1934308"/>
                <a:gd name="connsiteX72" fmla="*/ 281354 w 5933552"/>
                <a:gd name="connsiteY72" fmla="*/ 1833824 h 1934308"/>
                <a:gd name="connsiteX73" fmla="*/ 130629 w 5933552"/>
                <a:gd name="connsiteY73" fmla="*/ 1758461 h 1934308"/>
                <a:gd name="connsiteX74" fmla="*/ 10048 w 5933552"/>
                <a:gd name="connsiteY74" fmla="*/ 1678075 h 1934308"/>
                <a:gd name="connsiteX75" fmla="*/ 0 w 5933552"/>
                <a:gd name="connsiteY75" fmla="*/ 1537398 h 1934308"/>
                <a:gd name="connsiteX76" fmla="*/ 15072 w 5933552"/>
                <a:gd name="connsiteY76" fmla="*/ 1487156 h 1934308"/>
                <a:gd name="connsiteX77" fmla="*/ 15072 w 5933552"/>
                <a:gd name="connsiteY77" fmla="*/ 1431890 h 1934308"/>
                <a:gd name="connsiteX78" fmla="*/ 25121 w 5933552"/>
                <a:gd name="connsiteY78" fmla="*/ 1381648 h 1934308"/>
                <a:gd name="connsiteX79" fmla="*/ 40193 w 5933552"/>
                <a:gd name="connsiteY79" fmla="*/ 1356527 h 1934308"/>
                <a:gd name="connsiteX80" fmla="*/ 65314 w 5933552"/>
                <a:gd name="connsiteY8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507442 w 5933552"/>
                <a:gd name="connsiteY70" fmla="*/ 1833824 h 1934308"/>
                <a:gd name="connsiteX71" fmla="*/ 281354 w 5933552"/>
                <a:gd name="connsiteY71" fmla="*/ 1833824 h 1934308"/>
                <a:gd name="connsiteX72" fmla="*/ 130629 w 5933552"/>
                <a:gd name="connsiteY72" fmla="*/ 1758461 h 1934308"/>
                <a:gd name="connsiteX73" fmla="*/ 10048 w 5933552"/>
                <a:gd name="connsiteY73" fmla="*/ 1678075 h 1934308"/>
                <a:gd name="connsiteX74" fmla="*/ 0 w 5933552"/>
                <a:gd name="connsiteY74" fmla="*/ 1537398 h 1934308"/>
                <a:gd name="connsiteX75" fmla="*/ 15072 w 5933552"/>
                <a:gd name="connsiteY75" fmla="*/ 1487156 h 1934308"/>
                <a:gd name="connsiteX76" fmla="*/ 15072 w 5933552"/>
                <a:gd name="connsiteY76" fmla="*/ 1431890 h 1934308"/>
                <a:gd name="connsiteX77" fmla="*/ 25121 w 5933552"/>
                <a:gd name="connsiteY77" fmla="*/ 1381648 h 1934308"/>
                <a:gd name="connsiteX78" fmla="*/ 40193 w 5933552"/>
                <a:gd name="connsiteY78" fmla="*/ 1356527 h 1934308"/>
                <a:gd name="connsiteX79" fmla="*/ 65314 w 5933552"/>
                <a:gd name="connsiteY7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507442 w 5933552"/>
                <a:gd name="connsiteY69" fmla="*/ 1833824 h 1934308"/>
                <a:gd name="connsiteX70" fmla="*/ 281354 w 5933552"/>
                <a:gd name="connsiteY70" fmla="*/ 1833824 h 1934308"/>
                <a:gd name="connsiteX71" fmla="*/ 130629 w 5933552"/>
                <a:gd name="connsiteY71" fmla="*/ 1758461 h 1934308"/>
                <a:gd name="connsiteX72" fmla="*/ 10048 w 5933552"/>
                <a:gd name="connsiteY72" fmla="*/ 1678075 h 1934308"/>
                <a:gd name="connsiteX73" fmla="*/ 0 w 5933552"/>
                <a:gd name="connsiteY73" fmla="*/ 1537398 h 1934308"/>
                <a:gd name="connsiteX74" fmla="*/ 15072 w 5933552"/>
                <a:gd name="connsiteY74" fmla="*/ 1487156 h 1934308"/>
                <a:gd name="connsiteX75" fmla="*/ 15072 w 5933552"/>
                <a:gd name="connsiteY75" fmla="*/ 1431890 h 1934308"/>
                <a:gd name="connsiteX76" fmla="*/ 25121 w 5933552"/>
                <a:gd name="connsiteY76" fmla="*/ 1381648 h 1934308"/>
                <a:gd name="connsiteX77" fmla="*/ 40193 w 5933552"/>
                <a:gd name="connsiteY77" fmla="*/ 1356527 h 1934308"/>
                <a:gd name="connsiteX78" fmla="*/ 65314 w 5933552"/>
                <a:gd name="connsiteY7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507442 w 5933552"/>
                <a:gd name="connsiteY68" fmla="*/ 1833824 h 1934308"/>
                <a:gd name="connsiteX69" fmla="*/ 281354 w 5933552"/>
                <a:gd name="connsiteY69" fmla="*/ 1833824 h 1934308"/>
                <a:gd name="connsiteX70" fmla="*/ 130629 w 5933552"/>
                <a:gd name="connsiteY70" fmla="*/ 1758461 h 1934308"/>
                <a:gd name="connsiteX71" fmla="*/ 10048 w 5933552"/>
                <a:gd name="connsiteY71" fmla="*/ 1678075 h 1934308"/>
                <a:gd name="connsiteX72" fmla="*/ 0 w 5933552"/>
                <a:gd name="connsiteY72" fmla="*/ 1537398 h 1934308"/>
                <a:gd name="connsiteX73" fmla="*/ 15072 w 5933552"/>
                <a:gd name="connsiteY73" fmla="*/ 1487156 h 1934308"/>
                <a:gd name="connsiteX74" fmla="*/ 15072 w 5933552"/>
                <a:gd name="connsiteY74" fmla="*/ 1431890 h 1934308"/>
                <a:gd name="connsiteX75" fmla="*/ 25121 w 5933552"/>
                <a:gd name="connsiteY75" fmla="*/ 1381648 h 1934308"/>
                <a:gd name="connsiteX76" fmla="*/ 40193 w 5933552"/>
                <a:gd name="connsiteY76" fmla="*/ 1356527 h 1934308"/>
                <a:gd name="connsiteX77" fmla="*/ 65314 w 5933552"/>
                <a:gd name="connsiteY7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562519 w 5933552"/>
                <a:gd name="connsiteY66" fmla="*/ 1462035 h 1934308"/>
                <a:gd name="connsiteX67" fmla="*/ 507442 w 5933552"/>
                <a:gd name="connsiteY67" fmla="*/ 1833824 h 1934308"/>
                <a:gd name="connsiteX68" fmla="*/ 281354 w 5933552"/>
                <a:gd name="connsiteY68" fmla="*/ 1833824 h 1934308"/>
                <a:gd name="connsiteX69" fmla="*/ 130629 w 5933552"/>
                <a:gd name="connsiteY69" fmla="*/ 1758461 h 1934308"/>
                <a:gd name="connsiteX70" fmla="*/ 10048 w 5933552"/>
                <a:gd name="connsiteY70" fmla="*/ 1678075 h 1934308"/>
                <a:gd name="connsiteX71" fmla="*/ 0 w 5933552"/>
                <a:gd name="connsiteY71" fmla="*/ 1537398 h 1934308"/>
                <a:gd name="connsiteX72" fmla="*/ 15072 w 5933552"/>
                <a:gd name="connsiteY72" fmla="*/ 1487156 h 1934308"/>
                <a:gd name="connsiteX73" fmla="*/ 15072 w 5933552"/>
                <a:gd name="connsiteY73" fmla="*/ 1431890 h 1934308"/>
                <a:gd name="connsiteX74" fmla="*/ 25121 w 5933552"/>
                <a:gd name="connsiteY74" fmla="*/ 1381648 h 1934308"/>
                <a:gd name="connsiteX75" fmla="*/ 40193 w 5933552"/>
                <a:gd name="connsiteY75" fmla="*/ 1356527 h 1934308"/>
                <a:gd name="connsiteX76" fmla="*/ 65314 w 5933552"/>
                <a:gd name="connsiteY7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562519 w 5933552"/>
                <a:gd name="connsiteY65" fmla="*/ 1462035 h 1934308"/>
                <a:gd name="connsiteX66" fmla="*/ 507442 w 5933552"/>
                <a:gd name="connsiteY66" fmla="*/ 1833824 h 1934308"/>
                <a:gd name="connsiteX67" fmla="*/ 281354 w 5933552"/>
                <a:gd name="connsiteY67" fmla="*/ 1833824 h 1934308"/>
                <a:gd name="connsiteX68" fmla="*/ 130629 w 5933552"/>
                <a:gd name="connsiteY68" fmla="*/ 1758461 h 1934308"/>
                <a:gd name="connsiteX69" fmla="*/ 10048 w 5933552"/>
                <a:gd name="connsiteY69" fmla="*/ 1678075 h 1934308"/>
                <a:gd name="connsiteX70" fmla="*/ 0 w 5933552"/>
                <a:gd name="connsiteY70" fmla="*/ 1537398 h 1934308"/>
                <a:gd name="connsiteX71" fmla="*/ 15072 w 5933552"/>
                <a:gd name="connsiteY71" fmla="*/ 1487156 h 1934308"/>
                <a:gd name="connsiteX72" fmla="*/ 15072 w 5933552"/>
                <a:gd name="connsiteY72" fmla="*/ 1431890 h 1934308"/>
                <a:gd name="connsiteX73" fmla="*/ 25121 w 5933552"/>
                <a:gd name="connsiteY73" fmla="*/ 1381648 h 1934308"/>
                <a:gd name="connsiteX74" fmla="*/ 40193 w 5933552"/>
                <a:gd name="connsiteY74" fmla="*/ 1356527 h 1934308"/>
                <a:gd name="connsiteX75" fmla="*/ 65314 w 5933552"/>
                <a:gd name="connsiteY7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35380 w 5933552"/>
                <a:gd name="connsiteY62" fmla="*/ 1919235 h 1934308"/>
                <a:gd name="connsiteX63" fmla="*/ 1688123 w 5933552"/>
                <a:gd name="connsiteY63" fmla="*/ 1899138 h 1934308"/>
                <a:gd name="connsiteX64" fmla="*/ 507442 w 5933552"/>
                <a:gd name="connsiteY64" fmla="*/ 1833824 h 1934308"/>
                <a:gd name="connsiteX65" fmla="*/ 281354 w 5933552"/>
                <a:gd name="connsiteY65" fmla="*/ 1833824 h 1934308"/>
                <a:gd name="connsiteX66" fmla="*/ 130629 w 5933552"/>
                <a:gd name="connsiteY66" fmla="*/ 1758461 h 1934308"/>
                <a:gd name="connsiteX67" fmla="*/ 10048 w 5933552"/>
                <a:gd name="connsiteY67" fmla="*/ 1678075 h 1934308"/>
                <a:gd name="connsiteX68" fmla="*/ 0 w 5933552"/>
                <a:gd name="connsiteY68" fmla="*/ 1537398 h 1934308"/>
                <a:gd name="connsiteX69" fmla="*/ 15072 w 5933552"/>
                <a:gd name="connsiteY69" fmla="*/ 1487156 h 1934308"/>
                <a:gd name="connsiteX70" fmla="*/ 15072 w 5933552"/>
                <a:gd name="connsiteY70" fmla="*/ 1431890 h 1934308"/>
                <a:gd name="connsiteX71" fmla="*/ 25121 w 5933552"/>
                <a:gd name="connsiteY71" fmla="*/ 1381648 h 1934308"/>
                <a:gd name="connsiteX72" fmla="*/ 40193 w 5933552"/>
                <a:gd name="connsiteY72" fmla="*/ 1356527 h 1934308"/>
                <a:gd name="connsiteX73" fmla="*/ 65314 w 5933552"/>
                <a:gd name="connsiteY7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919235 h 1934308"/>
                <a:gd name="connsiteX62" fmla="*/ 1688123 w 5933552"/>
                <a:gd name="connsiteY62" fmla="*/ 1899138 h 1934308"/>
                <a:gd name="connsiteX63" fmla="*/ 507442 w 5933552"/>
                <a:gd name="connsiteY63" fmla="*/ 1833824 h 1934308"/>
                <a:gd name="connsiteX64" fmla="*/ 281354 w 5933552"/>
                <a:gd name="connsiteY64" fmla="*/ 1833824 h 1934308"/>
                <a:gd name="connsiteX65" fmla="*/ 130629 w 5933552"/>
                <a:gd name="connsiteY65" fmla="*/ 1758461 h 1934308"/>
                <a:gd name="connsiteX66" fmla="*/ 10048 w 5933552"/>
                <a:gd name="connsiteY66" fmla="*/ 1678075 h 1934308"/>
                <a:gd name="connsiteX67" fmla="*/ 0 w 5933552"/>
                <a:gd name="connsiteY67" fmla="*/ 1537398 h 1934308"/>
                <a:gd name="connsiteX68" fmla="*/ 15072 w 5933552"/>
                <a:gd name="connsiteY68" fmla="*/ 1487156 h 1934308"/>
                <a:gd name="connsiteX69" fmla="*/ 15072 w 5933552"/>
                <a:gd name="connsiteY69" fmla="*/ 1431890 h 1934308"/>
                <a:gd name="connsiteX70" fmla="*/ 25121 w 5933552"/>
                <a:gd name="connsiteY70" fmla="*/ 1381648 h 1934308"/>
                <a:gd name="connsiteX71" fmla="*/ 40193 w 5933552"/>
                <a:gd name="connsiteY71" fmla="*/ 1356527 h 1934308"/>
                <a:gd name="connsiteX72" fmla="*/ 65314 w 5933552"/>
                <a:gd name="connsiteY7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35380 w 5933552"/>
                <a:gd name="connsiteY60" fmla="*/ 1919235 h 1934308"/>
                <a:gd name="connsiteX61" fmla="*/ 1688123 w 5933552"/>
                <a:gd name="connsiteY61" fmla="*/ 1899138 h 1934308"/>
                <a:gd name="connsiteX62" fmla="*/ 507442 w 5933552"/>
                <a:gd name="connsiteY62" fmla="*/ 1833824 h 1934308"/>
                <a:gd name="connsiteX63" fmla="*/ 281354 w 5933552"/>
                <a:gd name="connsiteY63" fmla="*/ 1833824 h 1934308"/>
                <a:gd name="connsiteX64" fmla="*/ 130629 w 5933552"/>
                <a:gd name="connsiteY64" fmla="*/ 1758461 h 1934308"/>
                <a:gd name="connsiteX65" fmla="*/ 10048 w 5933552"/>
                <a:gd name="connsiteY65" fmla="*/ 1678075 h 1934308"/>
                <a:gd name="connsiteX66" fmla="*/ 0 w 5933552"/>
                <a:gd name="connsiteY66" fmla="*/ 1537398 h 1934308"/>
                <a:gd name="connsiteX67" fmla="*/ 15072 w 5933552"/>
                <a:gd name="connsiteY67" fmla="*/ 1487156 h 1934308"/>
                <a:gd name="connsiteX68" fmla="*/ 15072 w 5933552"/>
                <a:gd name="connsiteY68" fmla="*/ 1431890 h 1934308"/>
                <a:gd name="connsiteX69" fmla="*/ 25121 w 5933552"/>
                <a:gd name="connsiteY69" fmla="*/ 1381648 h 1934308"/>
                <a:gd name="connsiteX70" fmla="*/ 40193 w 5933552"/>
                <a:gd name="connsiteY70" fmla="*/ 1356527 h 1934308"/>
                <a:gd name="connsiteX71" fmla="*/ 65314 w 5933552"/>
                <a:gd name="connsiteY7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235380 w 5933552"/>
                <a:gd name="connsiteY59" fmla="*/ 1919235 h 1934308"/>
                <a:gd name="connsiteX60" fmla="*/ 1688123 w 5933552"/>
                <a:gd name="connsiteY60" fmla="*/ 1899138 h 1934308"/>
                <a:gd name="connsiteX61" fmla="*/ 507442 w 5933552"/>
                <a:gd name="connsiteY61" fmla="*/ 1833824 h 1934308"/>
                <a:gd name="connsiteX62" fmla="*/ 281354 w 5933552"/>
                <a:gd name="connsiteY62" fmla="*/ 1833824 h 1934308"/>
                <a:gd name="connsiteX63" fmla="*/ 130629 w 5933552"/>
                <a:gd name="connsiteY63" fmla="*/ 1758461 h 1934308"/>
                <a:gd name="connsiteX64" fmla="*/ 10048 w 5933552"/>
                <a:gd name="connsiteY64" fmla="*/ 1678075 h 1934308"/>
                <a:gd name="connsiteX65" fmla="*/ 0 w 5933552"/>
                <a:gd name="connsiteY65" fmla="*/ 1537398 h 1934308"/>
                <a:gd name="connsiteX66" fmla="*/ 15072 w 5933552"/>
                <a:gd name="connsiteY66" fmla="*/ 1487156 h 1934308"/>
                <a:gd name="connsiteX67" fmla="*/ 15072 w 5933552"/>
                <a:gd name="connsiteY67" fmla="*/ 1431890 h 1934308"/>
                <a:gd name="connsiteX68" fmla="*/ 25121 w 5933552"/>
                <a:gd name="connsiteY68" fmla="*/ 1381648 h 1934308"/>
                <a:gd name="connsiteX69" fmla="*/ 40193 w 5933552"/>
                <a:gd name="connsiteY69" fmla="*/ 1356527 h 1934308"/>
                <a:gd name="connsiteX70" fmla="*/ 65314 w 5933552"/>
                <a:gd name="connsiteY7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235380 w 5933552"/>
                <a:gd name="connsiteY58" fmla="*/ 1919235 h 1934308"/>
                <a:gd name="connsiteX59" fmla="*/ 1688123 w 5933552"/>
                <a:gd name="connsiteY59" fmla="*/ 1899138 h 1934308"/>
                <a:gd name="connsiteX60" fmla="*/ 507442 w 5933552"/>
                <a:gd name="connsiteY60" fmla="*/ 1833824 h 1934308"/>
                <a:gd name="connsiteX61" fmla="*/ 281354 w 5933552"/>
                <a:gd name="connsiteY61" fmla="*/ 1833824 h 1934308"/>
                <a:gd name="connsiteX62" fmla="*/ 130629 w 5933552"/>
                <a:gd name="connsiteY62" fmla="*/ 1758461 h 1934308"/>
                <a:gd name="connsiteX63" fmla="*/ 10048 w 5933552"/>
                <a:gd name="connsiteY63" fmla="*/ 1678075 h 1934308"/>
                <a:gd name="connsiteX64" fmla="*/ 0 w 5933552"/>
                <a:gd name="connsiteY64" fmla="*/ 1537398 h 1934308"/>
                <a:gd name="connsiteX65" fmla="*/ 15072 w 5933552"/>
                <a:gd name="connsiteY65" fmla="*/ 1487156 h 1934308"/>
                <a:gd name="connsiteX66" fmla="*/ 15072 w 5933552"/>
                <a:gd name="connsiteY66" fmla="*/ 1431890 h 1934308"/>
                <a:gd name="connsiteX67" fmla="*/ 25121 w 5933552"/>
                <a:gd name="connsiteY67" fmla="*/ 1381648 h 1934308"/>
                <a:gd name="connsiteX68" fmla="*/ 40193 w 5933552"/>
                <a:gd name="connsiteY68" fmla="*/ 1356527 h 1934308"/>
                <a:gd name="connsiteX69" fmla="*/ 65314 w 5933552"/>
                <a:gd name="connsiteY6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235380 w 5933552"/>
                <a:gd name="connsiteY57" fmla="*/ 1919235 h 1934308"/>
                <a:gd name="connsiteX58" fmla="*/ 1688123 w 5933552"/>
                <a:gd name="connsiteY58" fmla="*/ 1899138 h 1934308"/>
                <a:gd name="connsiteX59" fmla="*/ 507442 w 5933552"/>
                <a:gd name="connsiteY59" fmla="*/ 1833824 h 1934308"/>
                <a:gd name="connsiteX60" fmla="*/ 281354 w 5933552"/>
                <a:gd name="connsiteY60" fmla="*/ 1833824 h 1934308"/>
                <a:gd name="connsiteX61" fmla="*/ 130629 w 5933552"/>
                <a:gd name="connsiteY61" fmla="*/ 1758461 h 1934308"/>
                <a:gd name="connsiteX62" fmla="*/ 10048 w 5933552"/>
                <a:gd name="connsiteY62" fmla="*/ 1678075 h 1934308"/>
                <a:gd name="connsiteX63" fmla="*/ 0 w 5933552"/>
                <a:gd name="connsiteY63" fmla="*/ 1537398 h 1934308"/>
                <a:gd name="connsiteX64" fmla="*/ 15072 w 5933552"/>
                <a:gd name="connsiteY64" fmla="*/ 1487156 h 1934308"/>
                <a:gd name="connsiteX65" fmla="*/ 15072 w 5933552"/>
                <a:gd name="connsiteY65" fmla="*/ 1431890 h 1934308"/>
                <a:gd name="connsiteX66" fmla="*/ 25121 w 5933552"/>
                <a:gd name="connsiteY66" fmla="*/ 1381648 h 1934308"/>
                <a:gd name="connsiteX67" fmla="*/ 40193 w 5933552"/>
                <a:gd name="connsiteY67" fmla="*/ 1356527 h 1934308"/>
                <a:gd name="connsiteX68" fmla="*/ 65314 w 5933552"/>
                <a:gd name="connsiteY6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235380 w 5933552"/>
                <a:gd name="connsiteY56" fmla="*/ 1919235 h 1934308"/>
                <a:gd name="connsiteX57" fmla="*/ 1688123 w 5933552"/>
                <a:gd name="connsiteY57" fmla="*/ 1899138 h 1934308"/>
                <a:gd name="connsiteX58" fmla="*/ 507442 w 5933552"/>
                <a:gd name="connsiteY58" fmla="*/ 1833824 h 1934308"/>
                <a:gd name="connsiteX59" fmla="*/ 281354 w 5933552"/>
                <a:gd name="connsiteY59" fmla="*/ 1833824 h 1934308"/>
                <a:gd name="connsiteX60" fmla="*/ 130629 w 5933552"/>
                <a:gd name="connsiteY60" fmla="*/ 1758461 h 1934308"/>
                <a:gd name="connsiteX61" fmla="*/ 10048 w 5933552"/>
                <a:gd name="connsiteY61" fmla="*/ 1678075 h 1934308"/>
                <a:gd name="connsiteX62" fmla="*/ 0 w 5933552"/>
                <a:gd name="connsiteY62" fmla="*/ 1537398 h 1934308"/>
                <a:gd name="connsiteX63" fmla="*/ 15072 w 5933552"/>
                <a:gd name="connsiteY63" fmla="*/ 1487156 h 1934308"/>
                <a:gd name="connsiteX64" fmla="*/ 15072 w 5933552"/>
                <a:gd name="connsiteY64" fmla="*/ 1431890 h 1934308"/>
                <a:gd name="connsiteX65" fmla="*/ 25121 w 5933552"/>
                <a:gd name="connsiteY65" fmla="*/ 1381648 h 1934308"/>
                <a:gd name="connsiteX66" fmla="*/ 40193 w 5933552"/>
                <a:gd name="connsiteY66" fmla="*/ 1356527 h 1934308"/>
                <a:gd name="connsiteX67" fmla="*/ 65314 w 5933552"/>
                <a:gd name="connsiteY6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235380 w 5933552"/>
                <a:gd name="connsiteY55" fmla="*/ 1919235 h 1934308"/>
                <a:gd name="connsiteX56" fmla="*/ 1688123 w 5933552"/>
                <a:gd name="connsiteY56" fmla="*/ 1899138 h 1934308"/>
                <a:gd name="connsiteX57" fmla="*/ 507442 w 5933552"/>
                <a:gd name="connsiteY57" fmla="*/ 1833824 h 1934308"/>
                <a:gd name="connsiteX58" fmla="*/ 281354 w 5933552"/>
                <a:gd name="connsiteY58" fmla="*/ 1833824 h 1934308"/>
                <a:gd name="connsiteX59" fmla="*/ 130629 w 5933552"/>
                <a:gd name="connsiteY59" fmla="*/ 1758461 h 1934308"/>
                <a:gd name="connsiteX60" fmla="*/ 10048 w 5933552"/>
                <a:gd name="connsiteY60" fmla="*/ 1678075 h 1934308"/>
                <a:gd name="connsiteX61" fmla="*/ 0 w 5933552"/>
                <a:gd name="connsiteY61" fmla="*/ 1537398 h 1934308"/>
                <a:gd name="connsiteX62" fmla="*/ 15072 w 5933552"/>
                <a:gd name="connsiteY62" fmla="*/ 1487156 h 1934308"/>
                <a:gd name="connsiteX63" fmla="*/ 15072 w 5933552"/>
                <a:gd name="connsiteY63" fmla="*/ 1431890 h 1934308"/>
                <a:gd name="connsiteX64" fmla="*/ 25121 w 5933552"/>
                <a:gd name="connsiteY64" fmla="*/ 1381648 h 1934308"/>
                <a:gd name="connsiteX65" fmla="*/ 40193 w 5933552"/>
                <a:gd name="connsiteY65" fmla="*/ 1356527 h 1934308"/>
                <a:gd name="connsiteX66" fmla="*/ 65314 w 5933552"/>
                <a:gd name="connsiteY6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4235380 w 5933552"/>
                <a:gd name="connsiteY54" fmla="*/ 1919235 h 1934308"/>
                <a:gd name="connsiteX55" fmla="*/ 1688123 w 5933552"/>
                <a:gd name="connsiteY55" fmla="*/ 1899138 h 1934308"/>
                <a:gd name="connsiteX56" fmla="*/ 507442 w 5933552"/>
                <a:gd name="connsiteY56" fmla="*/ 1833824 h 1934308"/>
                <a:gd name="connsiteX57" fmla="*/ 281354 w 5933552"/>
                <a:gd name="connsiteY57" fmla="*/ 1833824 h 1934308"/>
                <a:gd name="connsiteX58" fmla="*/ 130629 w 5933552"/>
                <a:gd name="connsiteY58" fmla="*/ 1758461 h 1934308"/>
                <a:gd name="connsiteX59" fmla="*/ 10048 w 5933552"/>
                <a:gd name="connsiteY59" fmla="*/ 1678075 h 1934308"/>
                <a:gd name="connsiteX60" fmla="*/ 0 w 5933552"/>
                <a:gd name="connsiteY60" fmla="*/ 1537398 h 1934308"/>
                <a:gd name="connsiteX61" fmla="*/ 15072 w 5933552"/>
                <a:gd name="connsiteY61" fmla="*/ 1487156 h 1934308"/>
                <a:gd name="connsiteX62" fmla="*/ 15072 w 5933552"/>
                <a:gd name="connsiteY62" fmla="*/ 1431890 h 1934308"/>
                <a:gd name="connsiteX63" fmla="*/ 25121 w 5933552"/>
                <a:gd name="connsiteY63" fmla="*/ 1381648 h 1934308"/>
                <a:gd name="connsiteX64" fmla="*/ 40193 w 5933552"/>
                <a:gd name="connsiteY64" fmla="*/ 1356527 h 1934308"/>
                <a:gd name="connsiteX65" fmla="*/ 65314 w 5933552"/>
                <a:gd name="connsiteY6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4235380 w 5933552"/>
                <a:gd name="connsiteY53" fmla="*/ 1919235 h 1934308"/>
                <a:gd name="connsiteX54" fmla="*/ 1688123 w 5933552"/>
                <a:gd name="connsiteY54" fmla="*/ 1899138 h 1934308"/>
                <a:gd name="connsiteX55" fmla="*/ 507442 w 5933552"/>
                <a:gd name="connsiteY55" fmla="*/ 1833824 h 1934308"/>
                <a:gd name="connsiteX56" fmla="*/ 281354 w 5933552"/>
                <a:gd name="connsiteY56" fmla="*/ 1833824 h 1934308"/>
                <a:gd name="connsiteX57" fmla="*/ 130629 w 5933552"/>
                <a:gd name="connsiteY57" fmla="*/ 1758461 h 1934308"/>
                <a:gd name="connsiteX58" fmla="*/ 10048 w 5933552"/>
                <a:gd name="connsiteY58" fmla="*/ 1678075 h 1934308"/>
                <a:gd name="connsiteX59" fmla="*/ 0 w 5933552"/>
                <a:gd name="connsiteY59" fmla="*/ 1537398 h 1934308"/>
                <a:gd name="connsiteX60" fmla="*/ 15072 w 5933552"/>
                <a:gd name="connsiteY60" fmla="*/ 1487156 h 1934308"/>
                <a:gd name="connsiteX61" fmla="*/ 15072 w 5933552"/>
                <a:gd name="connsiteY61" fmla="*/ 1431890 h 1934308"/>
                <a:gd name="connsiteX62" fmla="*/ 25121 w 5933552"/>
                <a:gd name="connsiteY62" fmla="*/ 1381648 h 1934308"/>
                <a:gd name="connsiteX63" fmla="*/ 40193 w 5933552"/>
                <a:gd name="connsiteY63" fmla="*/ 1356527 h 1934308"/>
                <a:gd name="connsiteX64" fmla="*/ 65314 w 5933552"/>
                <a:gd name="connsiteY6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3029578 w 5933552"/>
                <a:gd name="connsiteY23" fmla="*/ 55266 h 1934308"/>
                <a:gd name="connsiteX24" fmla="*/ 3135086 w 5933552"/>
                <a:gd name="connsiteY24" fmla="*/ 75363 h 1934308"/>
                <a:gd name="connsiteX25" fmla="*/ 3255666 w 5933552"/>
                <a:gd name="connsiteY25" fmla="*/ 95459 h 1934308"/>
                <a:gd name="connsiteX26" fmla="*/ 3542044 w 5933552"/>
                <a:gd name="connsiteY26" fmla="*/ 180870 h 1934308"/>
                <a:gd name="connsiteX27" fmla="*/ 3798277 w 5933552"/>
                <a:gd name="connsiteY27" fmla="*/ 316523 h 1934308"/>
                <a:gd name="connsiteX28" fmla="*/ 4210259 w 5933552"/>
                <a:gd name="connsiteY28" fmla="*/ 542611 h 1934308"/>
                <a:gd name="connsiteX29" fmla="*/ 4340888 w 5933552"/>
                <a:gd name="connsiteY29" fmla="*/ 622998 h 1934308"/>
                <a:gd name="connsiteX30" fmla="*/ 4381081 w 5933552"/>
                <a:gd name="connsiteY30" fmla="*/ 653143 h 1934308"/>
                <a:gd name="connsiteX31" fmla="*/ 4752870 w 5933552"/>
                <a:gd name="connsiteY31" fmla="*/ 683288 h 1934308"/>
                <a:gd name="connsiteX32" fmla="*/ 5164853 w 5933552"/>
                <a:gd name="connsiteY32" fmla="*/ 758650 h 1934308"/>
                <a:gd name="connsiteX33" fmla="*/ 5441182 w 5933552"/>
                <a:gd name="connsiteY33" fmla="*/ 823965 h 1934308"/>
                <a:gd name="connsiteX34" fmla="*/ 5612004 w 5933552"/>
                <a:gd name="connsiteY34" fmla="*/ 899327 h 1934308"/>
                <a:gd name="connsiteX35" fmla="*/ 5807947 w 5933552"/>
                <a:gd name="connsiteY35" fmla="*/ 1045028 h 1934308"/>
                <a:gd name="connsiteX36" fmla="*/ 5823020 w 5933552"/>
                <a:gd name="connsiteY36" fmla="*/ 1115367 h 1934308"/>
                <a:gd name="connsiteX37" fmla="*/ 5838092 w 5933552"/>
                <a:gd name="connsiteY37" fmla="*/ 1215850 h 1934308"/>
                <a:gd name="connsiteX38" fmla="*/ 5823020 w 5933552"/>
                <a:gd name="connsiteY38" fmla="*/ 1245995 h 1934308"/>
                <a:gd name="connsiteX39" fmla="*/ 5863213 w 5933552"/>
                <a:gd name="connsiteY39" fmla="*/ 1296237 h 1934308"/>
                <a:gd name="connsiteX40" fmla="*/ 5893358 w 5933552"/>
                <a:gd name="connsiteY40" fmla="*/ 1356527 h 1934308"/>
                <a:gd name="connsiteX41" fmla="*/ 5893358 w 5933552"/>
                <a:gd name="connsiteY41" fmla="*/ 1431890 h 1934308"/>
                <a:gd name="connsiteX42" fmla="*/ 5928527 w 5933552"/>
                <a:gd name="connsiteY42" fmla="*/ 1492180 h 1934308"/>
                <a:gd name="connsiteX43" fmla="*/ 5918479 w 5933552"/>
                <a:gd name="connsiteY43" fmla="*/ 1602712 h 1934308"/>
                <a:gd name="connsiteX44" fmla="*/ 5898382 w 5933552"/>
                <a:gd name="connsiteY44" fmla="*/ 1683099 h 1934308"/>
                <a:gd name="connsiteX45" fmla="*/ 5918479 w 5933552"/>
                <a:gd name="connsiteY45" fmla="*/ 1773534 h 1934308"/>
                <a:gd name="connsiteX46" fmla="*/ 5933552 w 5933552"/>
                <a:gd name="connsiteY46" fmla="*/ 1808703 h 1934308"/>
                <a:gd name="connsiteX47" fmla="*/ 5812971 w 5933552"/>
                <a:gd name="connsiteY47" fmla="*/ 1868993 h 1934308"/>
                <a:gd name="connsiteX48" fmla="*/ 5812971 w 5933552"/>
                <a:gd name="connsiteY48" fmla="*/ 1868993 h 1934308"/>
                <a:gd name="connsiteX49" fmla="*/ 5727560 w 5933552"/>
                <a:gd name="connsiteY49" fmla="*/ 1929283 h 1934308"/>
                <a:gd name="connsiteX50" fmla="*/ 5390941 w 5933552"/>
                <a:gd name="connsiteY50" fmla="*/ 1934308 h 1934308"/>
                <a:gd name="connsiteX51" fmla="*/ 4235380 w 5933552"/>
                <a:gd name="connsiteY51" fmla="*/ 1919235 h 1934308"/>
                <a:gd name="connsiteX52" fmla="*/ 1688123 w 5933552"/>
                <a:gd name="connsiteY52" fmla="*/ 1899138 h 1934308"/>
                <a:gd name="connsiteX53" fmla="*/ 507442 w 5933552"/>
                <a:gd name="connsiteY53" fmla="*/ 1833824 h 1934308"/>
                <a:gd name="connsiteX54" fmla="*/ 281354 w 5933552"/>
                <a:gd name="connsiteY54" fmla="*/ 1833824 h 1934308"/>
                <a:gd name="connsiteX55" fmla="*/ 130629 w 5933552"/>
                <a:gd name="connsiteY55" fmla="*/ 1758461 h 1934308"/>
                <a:gd name="connsiteX56" fmla="*/ 10048 w 5933552"/>
                <a:gd name="connsiteY56" fmla="*/ 1678075 h 1934308"/>
                <a:gd name="connsiteX57" fmla="*/ 0 w 5933552"/>
                <a:gd name="connsiteY57" fmla="*/ 1537398 h 1934308"/>
                <a:gd name="connsiteX58" fmla="*/ 15072 w 5933552"/>
                <a:gd name="connsiteY58" fmla="*/ 1487156 h 1934308"/>
                <a:gd name="connsiteX59" fmla="*/ 15072 w 5933552"/>
                <a:gd name="connsiteY59" fmla="*/ 1431890 h 1934308"/>
                <a:gd name="connsiteX60" fmla="*/ 25121 w 5933552"/>
                <a:gd name="connsiteY60" fmla="*/ 1381648 h 1934308"/>
                <a:gd name="connsiteX61" fmla="*/ 40193 w 5933552"/>
                <a:gd name="connsiteY61" fmla="*/ 1356527 h 1934308"/>
                <a:gd name="connsiteX62" fmla="*/ 65314 w 5933552"/>
                <a:gd name="connsiteY62" fmla="*/ 1311310 h 1934308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312804 w 5933552"/>
                <a:gd name="connsiteY51" fmla="*/ 1552761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50907"/>
                <a:gd name="connsiteX1" fmla="*/ 75363 w 5933552"/>
                <a:gd name="connsiteY1" fmla="*/ 1083259 h 1950907"/>
                <a:gd name="connsiteX2" fmla="*/ 45218 w 5933552"/>
                <a:gd name="connsiteY2" fmla="*/ 1073210 h 1950907"/>
                <a:gd name="connsiteX3" fmla="*/ 95459 w 5933552"/>
                <a:gd name="connsiteY3" fmla="*/ 887316 h 1950907"/>
                <a:gd name="connsiteX4" fmla="*/ 80387 w 5933552"/>
                <a:gd name="connsiteY4" fmla="*/ 771760 h 1950907"/>
                <a:gd name="connsiteX5" fmla="*/ 85411 w 5933552"/>
                <a:gd name="connsiteY5" fmla="*/ 716494 h 1950907"/>
                <a:gd name="connsiteX6" fmla="*/ 105508 w 5933552"/>
                <a:gd name="connsiteY6" fmla="*/ 696397 h 1950907"/>
                <a:gd name="connsiteX7" fmla="*/ 135653 w 5933552"/>
                <a:gd name="connsiteY7" fmla="*/ 676300 h 1950907"/>
                <a:gd name="connsiteX8" fmla="*/ 467248 w 5933552"/>
                <a:gd name="connsiteY8" fmla="*/ 329632 h 1950907"/>
                <a:gd name="connsiteX9" fmla="*/ 472272 w 5933552"/>
                <a:gd name="connsiteY9" fmla="*/ 284415 h 1950907"/>
                <a:gd name="connsiteX10" fmla="*/ 442127 w 5933552"/>
                <a:gd name="connsiteY10" fmla="*/ 259294 h 1950907"/>
                <a:gd name="connsiteX11" fmla="*/ 406958 w 5933552"/>
                <a:gd name="connsiteY11" fmla="*/ 229149 h 1950907"/>
                <a:gd name="connsiteX12" fmla="*/ 406958 w 5933552"/>
                <a:gd name="connsiteY12" fmla="*/ 204028 h 1950907"/>
                <a:gd name="connsiteX13" fmla="*/ 462224 w 5933552"/>
                <a:gd name="connsiteY13" fmla="*/ 193980 h 1950907"/>
                <a:gd name="connsiteX14" fmla="*/ 864158 w 5933552"/>
                <a:gd name="connsiteY14" fmla="*/ 143738 h 1950907"/>
                <a:gd name="connsiteX15" fmla="*/ 999811 w 5933552"/>
                <a:gd name="connsiteY15" fmla="*/ 88472 h 1950907"/>
                <a:gd name="connsiteX16" fmla="*/ 1024932 w 5933552"/>
                <a:gd name="connsiteY16" fmla="*/ 78424 h 1950907"/>
                <a:gd name="connsiteX17" fmla="*/ 999811 w 5933552"/>
                <a:gd name="connsiteY17" fmla="*/ 28182 h 1950907"/>
                <a:gd name="connsiteX18" fmla="*/ 1070149 w 5933552"/>
                <a:gd name="connsiteY18" fmla="*/ 33206 h 1950907"/>
                <a:gd name="connsiteX19" fmla="*/ 1130439 w 5933552"/>
                <a:gd name="connsiteY19" fmla="*/ 53303 h 1950907"/>
                <a:gd name="connsiteX20" fmla="*/ 1160585 w 5933552"/>
                <a:gd name="connsiteY20" fmla="*/ 63351 h 1950907"/>
                <a:gd name="connsiteX21" fmla="*/ 1683099 w 5933552"/>
                <a:gd name="connsiteY21" fmla="*/ 13109 h 1950907"/>
                <a:gd name="connsiteX22" fmla="*/ 2306097 w 5933552"/>
                <a:gd name="connsiteY22" fmla="*/ 3061 h 1950907"/>
                <a:gd name="connsiteX23" fmla="*/ 3029578 w 5933552"/>
                <a:gd name="connsiteY23" fmla="*/ 58327 h 1950907"/>
                <a:gd name="connsiteX24" fmla="*/ 3135086 w 5933552"/>
                <a:gd name="connsiteY24" fmla="*/ 78424 h 1950907"/>
                <a:gd name="connsiteX25" fmla="*/ 3255666 w 5933552"/>
                <a:gd name="connsiteY25" fmla="*/ 98520 h 1950907"/>
                <a:gd name="connsiteX26" fmla="*/ 3542044 w 5933552"/>
                <a:gd name="connsiteY26" fmla="*/ 183931 h 1950907"/>
                <a:gd name="connsiteX27" fmla="*/ 3798277 w 5933552"/>
                <a:gd name="connsiteY27" fmla="*/ 319584 h 1950907"/>
                <a:gd name="connsiteX28" fmla="*/ 4210259 w 5933552"/>
                <a:gd name="connsiteY28" fmla="*/ 545672 h 1950907"/>
                <a:gd name="connsiteX29" fmla="*/ 4340888 w 5933552"/>
                <a:gd name="connsiteY29" fmla="*/ 626059 h 1950907"/>
                <a:gd name="connsiteX30" fmla="*/ 4381081 w 5933552"/>
                <a:gd name="connsiteY30" fmla="*/ 656204 h 1950907"/>
                <a:gd name="connsiteX31" fmla="*/ 4752870 w 5933552"/>
                <a:gd name="connsiteY31" fmla="*/ 686349 h 1950907"/>
                <a:gd name="connsiteX32" fmla="*/ 5164853 w 5933552"/>
                <a:gd name="connsiteY32" fmla="*/ 761711 h 1950907"/>
                <a:gd name="connsiteX33" fmla="*/ 5441182 w 5933552"/>
                <a:gd name="connsiteY33" fmla="*/ 827026 h 1950907"/>
                <a:gd name="connsiteX34" fmla="*/ 5612004 w 5933552"/>
                <a:gd name="connsiteY34" fmla="*/ 902388 h 1950907"/>
                <a:gd name="connsiteX35" fmla="*/ 5807947 w 5933552"/>
                <a:gd name="connsiteY35" fmla="*/ 1048089 h 1950907"/>
                <a:gd name="connsiteX36" fmla="*/ 5823020 w 5933552"/>
                <a:gd name="connsiteY36" fmla="*/ 1118428 h 1950907"/>
                <a:gd name="connsiteX37" fmla="*/ 5838092 w 5933552"/>
                <a:gd name="connsiteY37" fmla="*/ 1218911 h 1950907"/>
                <a:gd name="connsiteX38" fmla="*/ 5823020 w 5933552"/>
                <a:gd name="connsiteY38" fmla="*/ 1249056 h 1950907"/>
                <a:gd name="connsiteX39" fmla="*/ 5863213 w 5933552"/>
                <a:gd name="connsiteY39" fmla="*/ 1299298 h 1950907"/>
                <a:gd name="connsiteX40" fmla="*/ 5893358 w 5933552"/>
                <a:gd name="connsiteY40" fmla="*/ 1359588 h 1950907"/>
                <a:gd name="connsiteX41" fmla="*/ 5893358 w 5933552"/>
                <a:gd name="connsiteY41" fmla="*/ 1434951 h 1950907"/>
                <a:gd name="connsiteX42" fmla="*/ 5928527 w 5933552"/>
                <a:gd name="connsiteY42" fmla="*/ 1495241 h 1950907"/>
                <a:gd name="connsiteX43" fmla="*/ 5918479 w 5933552"/>
                <a:gd name="connsiteY43" fmla="*/ 1605773 h 1950907"/>
                <a:gd name="connsiteX44" fmla="*/ 5898382 w 5933552"/>
                <a:gd name="connsiteY44" fmla="*/ 1686160 h 1950907"/>
                <a:gd name="connsiteX45" fmla="*/ 5918479 w 5933552"/>
                <a:gd name="connsiteY45" fmla="*/ 1776595 h 1950907"/>
                <a:gd name="connsiteX46" fmla="*/ 5933552 w 5933552"/>
                <a:gd name="connsiteY46" fmla="*/ 1811764 h 1950907"/>
                <a:gd name="connsiteX47" fmla="*/ 5812971 w 5933552"/>
                <a:gd name="connsiteY47" fmla="*/ 1872054 h 1950907"/>
                <a:gd name="connsiteX48" fmla="*/ 5812971 w 5933552"/>
                <a:gd name="connsiteY48" fmla="*/ 1872054 h 1950907"/>
                <a:gd name="connsiteX49" fmla="*/ 5727560 w 5933552"/>
                <a:gd name="connsiteY49" fmla="*/ 1932344 h 1950907"/>
                <a:gd name="connsiteX50" fmla="*/ 5390941 w 5933552"/>
                <a:gd name="connsiteY50" fmla="*/ 1937369 h 1950907"/>
                <a:gd name="connsiteX51" fmla="*/ 5241231 w 5933552"/>
                <a:gd name="connsiteY51" fmla="*/ 1950907 h 1950907"/>
                <a:gd name="connsiteX52" fmla="*/ 4235380 w 5933552"/>
                <a:gd name="connsiteY52" fmla="*/ 1922296 h 1950907"/>
                <a:gd name="connsiteX53" fmla="*/ 1657301 w 5933552"/>
                <a:gd name="connsiteY53" fmla="*/ 1891925 h 1950907"/>
                <a:gd name="connsiteX54" fmla="*/ 507442 w 5933552"/>
                <a:gd name="connsiteY54" fmla="*/ 1836885 h 1950907"/>
                <a:gd name="connsiteX55" fmla="*/ 281354 w 5933552"/>
                <a:gd name="connsiteY55" fmla="*/ 1836885 h 1950907"/>
                <a:gd name="connsiteX56" fmla="*/ 130629 w 5933552"/>
                <a:gd name="connsiteY56" fmla="*/ 1761522 h 1950907"/>
                <a:gd name="connsiteX57" fmla="*/ 10048 w 5933552"/>
                <a:gd name="connsiteY57" fmla="*/ 1681136 h 1950907"/>
                <a:gd name="connsiteX58" fmla="*/ 0 w 5933552"/>
                <a:gd name="connsiteY58" fmla="*/ 1540459 h 1950907"/>
                <a:gd name="connsiteX59" fmla="*/ 15072 w 5933552"/>
                <a:gd name="connsiteY59" fmla="*/ 1490217 h 1950907"/>
                <a:gd name="connsiteX60" fmla="*/ 15072 w 5933552"/>
                <a:gd name="connsiteY60" fmla="*/ 1434951 h 1950907"/>
                <a:gd name="connsiteX61" fmla="*/ 25121 w 5933552"/>
                <a:gd name="connsiteY61" fmla="*/ 1384709 h 1950907"/>
                <a:gd name="connsiteX62" fmla="*/ 40193 w 5933552"/>
                <a:gd name="connsiteY62" fmla="*/ 1359588 h 1950907"/>
                <a:gd name="connsiteX63" fmla="*/ 65314 w 5933552"/>
                <a:gd name="connsiteY63" fmla="*/ 1314371 h 1950907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373414 w 5933552"/>
                <a:gd name="connsiteY52" fmla="*/ 1917320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2179673"/>
                <a:gd name="connsiteX1" fmla="*/ 75363 w 5933552"/>
                <a:gd name="connsiteY1" fmla="*/ 1083259 h 2179673"/>
                <a:gd name="connsiteX2" fmla="*/ 45218 w 5933552"/>
                <a:gd name="connsiteY2" fmla="*/ 1073210 h 2179673"/>
                <a:gd name="connsiteX3" fmla="*/ 95459 w 5933552"/>
                <a:gd name="connsiteY3" fmla="*/ 887316 h 2179673"/>
                <a:gd name="connsiteX4" fmla="*/ 80387 w 5933552"/>
                <a:gd name="connsiteY4" fmla="*/ 771760 h 2179673"/>
                <a:gd name="connsiteX5" fmla="*/ 85411 w 5933552"/>
                <a:gd name="connsiteY5" fmla="*/ 716494 h 2179673"/>
                <a:gd name="connsiteX6" fmla="*/ 105508 w 5933552"/>
                <a:gd name="connsiteY6" fmla="*/ 696397 h 2179673"/>
                <a:gd name="connsiteX7" fmla="*/ 135653 w 5933552"/>
                <a:gd name="connsiteY7" fmla="*/ 676300 h 2179673"/>
                <a:gd name="connsiteX8" fmla="*/ 467248 w 5933552"/>
                <a:gd name="connsiteY8" fmla="*/ 329632 h 2179673"/>
                <a:gd name="connsiteX9" fmla="*/ 472272 w 5933552"/>
                <a:gd name="connsiteY9" fmla="*/ 284415 h 2179673"/>
                <a:gd name="connsiteX10" fmla="*/ 442127 w 5933552"/>
                <a:gd name="connsiteY10" fmla="*/ 259294 h 2179673"/>
                <a:gd name="connsiteX11" fmla="*/ 406958 w 5933552"/>
                <a:gd name="connsiteY11" fmla="*/ 229149 h 2179673"/>
                <a:gd name="connsiteX12" fmla="*/ 406958 w 5933552"/>
                <a:gd name="connsiteY12" fmla="*/ 204028 h 2179673"/>
                <a:gd name="connsiteX13" fmla="*/ 462224 w 5933552"/>
                <a:gd name="connsiteY13" fmla="*/ 193980 h 2179673"/>
                <a:gd name="connsiteX14" fmla="*/ 864158 w 5933552"/>
                <a:gd name="connsiteY14" fmla="*/ 143738 h 2179673"/>
                <a:gd name="connsiteX15" fmla="*/ 999811 w 5933552"/>
                <a:gd name="connsiteY15" fmla="*/ 88472 h 2179673"/>
                <a:gd name="connsiteX16" fmla="*/ 1024932 w 5933552"/>
                <a:gd name="connsiteY16" fmla="*/ 78424 h 2179673"/>
                <a:gd name="connsiteX17" fmla="*/ 999811 w 5933552"/>
                <a:gd name="connsiteY17" fmla="*/ 28182 h 2179673"/>
                <a:gd name="connsiteX18" fmla="*/ 1070149 w 5933552"/>
                <a:gd name="connsiteY18" fmla="*/ 33206 h 2179673"/>
                <a:gd name="connsiteX19" fmla="*/ 1130439 w 5933552"/>
                <a:gd name="connsiteY19" fmla="*/ 53303 h 2179673"/>
                <a:gd name="connsiteX20" fmla="*/ 1160585 w 5933552"/>
                <a:gd name="connsiteY20" fmla="*/ 63351 h 2179673"/>
                <a:gd name="connsiteX21" fmla="*/ 1683099 w 5933552"/>
                <a:gd name="connsiteY21" fmla="*/ 13109 h 2179673"/>
                <a:gd name="connsiteX22" fmla="*/ 2306097 w 5933552"/>
                <a:gd name="connsiteY22" fmla="*/ 3061 h 2179673"/>
                <a:gd name="connsiteX23" fmla="*/ 3029578 w 5933552"/>
                <a:gd name="connsiteY23" fmla="*/ 58327 h 2179673"/>
                <a:gd name="connsiteX24" fmla="*/ 3135086 w 5933552"/>
                <a:gd name="connsiteY24" fmla="*/ 78424 h 2179673"/>
                <a:gd name="connsiteX25" fmla="*/ 3255666 w 5933552"/>
                <a:gd name="connsiteY25" fmla="*/ 98520 h 2179673"/>
                <a:gd name="connsiteX26" fmla="*/ 3542044 w 5933552"/>
                <a:gd name="connsiteY26" fmla="*/ 183931 h 2179673"/>
                <a:gd name="connsiteX27" fmla="*/ 3798277 w 5933552"/>
                <a:gd name="connsiteY27" fmla="*/ 319584 h 2179673"/>
                <a:gd name="connsiteX28" fmla="*/ 4210259 w 5933552"/>
                <a:gd name="connsiteY28" fmla="*/ 545672 h 2179673"/>
                <a:gd name="connsiteX29" fmla="*/ 4340888 w 5933552"/>
                <a:gd name="connsiteY29" fmla="*/ 626059 h 2179673"/>
                <a:gd name="connsiteX30" fmla="*/ 4381081 w 5933552"/>
                <a:gd name="connsiteY30" fmla="*/ 656204 h 2179673"/>
                <a:gd name="connsiteX31" fmla="*/ 4752870 w 5933552"/>
                <a:gd name="connsiteY31" fmla="*/ 686349 h 2179673"/>
                <a:gd name="connsiteX32" fmla="*/ 5164853 w 5933552"/>
                <a:gd name="connsiteY32" fmla="*/ 761711 h 2179673"/>
                <a:gd name="connsiteX33" fmla="*/ 5441182 w 5933552"/>
                <a:gd name="connsiteY33" fmla="*/ 827026 h 2179673"/>
                <a:gd name="connsiteX34" fmla="*/ 5612004 w 5933552"/>
                <a:gd name="connsiteY34" fmla="*/ 902388 h 2179673"/>
                <a:gd name="connsiteX35" fmla="*/ 5807947 w 5933552"/>
                <a:gd name="connsiteY35" fmla="*/ 1048089 h 2179673"/>
                <a:gd name="connsiteX36" fmla="*/ 5823020 w 5933552"/>
                <a:gd name="connsiteY36" fmla="*/ 1118428 h 2179673"/>
                <a:gd name="connsiteX37" fmla="*/ 5838092 w 5933552"/>
                <a:gd name="connsiteY37" fmla="*/ 1218911 h 2179673"/>
                <a:gd name="connsiteX38" fmla="*/ 5823020 w 5933552"/>
                <a:gd name="connsiteY38" fmla="*/ 1249056 h 2179673"/>
                <a:gd name="connsiteX39" fmla="*/ 5863213 w 5933552"/>
                <a:gd name="connsiteY39" fmla="*/ 1299298 h 2179673"/>
                <a:gd name="connsiteX40" fmla="*/ 5893358 w 5933552"/>
                <a:gd name="connsiteY40" fmla="*/ 1359588 h 2179673"/>
                <a:gd name="connsiteX41" fmla="*/ 5893358 w 5933552"/>
                <a:gd name="connsiteY41" fmla="*/ 1434951 h 2179673"/>
                <a:gd name="connsiteX42" fmla="*/ 5928527 w 5933552"/>
                <a:gd name="connsiteY42" fmla="*/ 1495241 h 2179673"/>
                <a:gd name="connsiteX43" fmla="*/ 5918479 w 5933552"/>
                <a:gd name="connsiteY43" fmla="*/ 1605773 h 2179673"/>
                <a:gd name="connsiteX44" fmla="*/ 5898382 w 5933552"/>
                <a:gd name="connsiteY44" fmla="*/ 1686160 h 2179673"/>
                <a:gd name="connsiteX45" fmla="*/ 5918479 w 5933552"/>
                <a:gd name="connsiteY45" fmla="*/ 1776595 h 2179673"/>
                <a:gd name="connsiteX46" fmla="*/ 5933552 w 5933552"/>
                <a:gd name="connsiteY46" fmla="*/ 1811764 h 2179673"/>
                <a:gd name="connsiteX47" fmla="*/ 5812971 w 5933552"/>
                <a:gd name="connsiteY47" fmla="*/ 1872054 h 2179673"/>
                <a:gd name="connsiteX48" fmla="*/ 5812971 w 5933552"/>
                <a:gd name="connsiteY48" fmla="*/ 1872054 h 2179673"/>
                <a:gd name="connsiteX49" fmla="*/ 5727560 w 5933552"/>
                <a:gd name="connsiteY49" fmla="*/ 1932344 h 2179673"/>
                <a:gd name="connsiteX50" fmla="*/ 5390941 w 5933552"/>
                <a:gd name="connsiteY50" fmla="*/ 1937369 h 2179673"/>
                <a:gd name="connsiteX51" fmla="*/ 5246343 w 5933552"/>
                <a:gd name="connsiteY51" fmla="*/ 1935977 h 2179673"/>
                <a:gd name="connsiteX52" fmla="*/ 4373414 w 5933552"/>
                <a:gd name="connsiteY52" fmla="*/ 1917320 h 2179673"/>
                <a:gd name="connsiteX53" fmla="*/ 1657301 w 5933552"/>
                <a:gd name="connsiteY53" fmla="*/ 1891925 h 2179673"/>
                <a:gd name="connsiteX54" fmla="*/ 507442 w 5933552"/>
                <a:gd name="connsiteY54" fmla="*/ 1836885 h 2179673"/>
                <a:gd name="connsiteX55" fmla="*/ 281354 w 5933552"/>
                <a:gd name="connsiteY55" fmla="*/ 1836885 h 2179673"/>
                <a:gd name="connsiteX56" fmla="*/ 130629 w 5933552"/>
                <a:gd name="connsiteY56" fmla="*/ 1761522 h 2179673"/>
                <a:gd name="connsiteX57" fmla="*/ 10048 w 5933552"/>
                <a:gd name="connsiteY57" fmla="*/ 1681136 h 2179673"/>
                <a:gd name="connsiteX58" fmla="*/ 0 w 5933552"/>
                <a:gd name="connsiteY58" fmla="*/ 1540459 h 2179673"/>
                <a:gd name="connsiteX59" fmla="*/ 15072 w 5933552"/>
                <a:gd name="connsiteY59" fmla="*/ 1490217 h 2179673"/>
                <a:gd name="connsiteX60" fmla="*/ 15072 w 5933552"/>
                <a:gd name="connsiteY60" fmla="*/ 1434951 h 2179673"/>
                <a:gd name="connsiteX61" fmla="*/ 25121 w 5933552"/>
                <a:gd name="connsiteY61" fmla="*/ 1384709 h 2179673"/>
                <a:gd name="connsiteX62" fmla="*/ 40193 w 5933552"/>
                <a:gd name="connsiteY62" fmla="*/ 1359588 h 2179673"/>
                <a:gd name="connsiteX63" fmla="*/ 65314 w 5933552"/>
                <a:gd name="connsiteY63" fmla="*/ 1314371 h 21796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46343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15670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9849"/>
                <a:gd name="connsiteX1" fmla="*/ 75363 w 5933552"/>
                <a:gd name="connsiteY1" fmla="*/ 1083259 h 2219849"/>
                <a:gd name="connsiteX2" fmla="*/ 45218 w 5933552"/>
                <a:gd name="connsiteY2" fmla="*/ 1073210 h 2219849"/>
                <a:gd name="connsiteX3" fmla="*/ 95459 w 5933552"/>
                <a:gd name="connsiteY3" fmla="*/ 887316 h 2219849"/>
                <a:gd name="connsiteX4" fmla="*/ 80387 w 5933552"/>
                <a:gd name="connsiteY4" fmla="*/ 771760 h 2219849"/>
                <a:gd name="connsiteX5" fmla="*/ 85411 w 5933552"/>
                <a:gd name="connsiteY5" fmla="*/ 716494 h 2219849"/>
                <a:gd name="connsiteX6" fmla="*/ 105508 w 5933552"/>
                <a:gd name="connsiteY6" fmla="*/ 696397 h 2219849"/>
                <a:gd name="connsiteX7" fmla="*/ 135653 w 5933552"/>
                <a:gd name="connsiteY7" fmla="*/ 676300 h 2219849"/>
                <a:gd name="connsiteX8" fmla="*/ 467248 w 5933552"/>
                <a:gd name="connsiteY8" fmla="*/ 329632 h 2219849"/>
                <a:gd name="connsiteX9" fmla="*/ 472272 w 5933552"/>
                <a:gd name="connsiteY9" fmla="*/ 284415 h 2219849"/>
                <a:gd name="connsiteX10" fmla="*/ 442127 w 5933552"/>
                <a:gd name="connsiteY10" fmla="*/ 259294 h 2219849"/>
                <a:gd name="connsiteX11" fmla="*/ 406958 w 5933552"/>
                <a:gd name="connsiteY11" fmla="*/ 229149 h 2219849"/>
                <a:gd name="connsiteX12" fmla="*/ 406958 w 5933552"/>
                <a:gd name="connsiteY12" fmla="*/ 204028 h 2219849"/>
                <a:gd name="connsiteX13" fmla="*/ 462224 w 5933552"/>
                <a:gd name="connsiteY13" fmla="*/ 193980 h 2219849"/>
                <a:gd name="connsiteX14" fmla="*/ 864158 w 5933552"/>
                <a:gd name="connsiteY14" fmla="*/ 143738 h 2219849"/>
                <a:gd name="connsiteX15" fmla="*/ 999811 w 5933552"/>
                <a:gd name="connsiteY15" fmla="*/ 88472 h 2219849"/>
                <a:gd name="connsiteX16" fmla="*/ 1024932 w 5933552"/>
                <a:gd name="connsiteY16" fmla="*/ 78424 h 2219849"/>
                <a:gd name="connsiteX17" fmla="*/ 999811 w 5933552"/>
                <a:gd name="connsiteY17" fmla="*/ 28182 h 2219849"/>
                <a:gd name="connsiteX18" fmla="*/ 1070149 w 5933552"/>
                <a:gd name="connsiteY18" fmla="*/ 33206 h 2219849"/>
                <a:gd name="connsiteX19" fmla="*/ 1130439 w 5933552"/>
                <a:gd name="connsiteY19" fmla="*/ 53303 h 2219849"/>
                <a:gd name="connsiteX20" fmla="*/ 1160585 w 5933552"/>
                <a:gd name="connsiteY20" fmla="*/ 63351 h 2219849"/>
                <a:gd name="connsiteX21" fmla="*/ 1683099 w 5933552"/>
                <a:gd name="connsiteY21" fmla="*/ 13109 h 2219849"/>
                <a:gd name="connsiteX22" fmla="*/ 2306097 w 5933552"/>
                <a:gd name="connsiteY22" fmla="*/ 3061 h 2219849"/>
                <a:gd name="connsiteX23" fmla="*/ 3029578 w 5933552"/>
                <a:gd name="connsiteY23" fmla="*/ 58327 h 2219849"/>
                <a:gd name="connsiteX24" fmla="*/ 3135086 w 5933552"/>
                <a:gd name="connsiteY24" fmla="*/ 78424 h 2219849"/>
                <a:gd name="connsiteX25" fmla="*/ 3255666 w 5933552"/>
                <a:gd name="connsiteY25" fmla="*/ 98520 h 2219849"/>
                <a:gd name="connsiteX26" fmla="*/ 3542044 w 5933552"/>
                <a:gd name="connsiteY26" fmla="*/ 183931 h 2219849"/>
                <a:gd name="connsiteX27" fmla="*/ 3798277 w 5933552"/>
                <a:gd name="connsiteY27" fmla="*/ 319584 h 2219849"/>
                <a:gd name="connsiteX28" fmla="*/ 4210259 w 5933552"/>
                <a:gd name="connsiteY28" fmla="*/ 545672 h 2219849"/>
                <a:gd name="connsiteX29" fmla="*/ 4340888 w 5933552"/>
                <a:gd name="connsiteY29" fmla="*/ 626059 h 2219849"/>
                <a:gd name="connsiteX30" fmla="*/ 4381081 w 5933552"/>
                <a:gd name="connsiteY30" fmla="*/ 656204 h 2219849"/>
                <a:gd name="connsiteX31" fmla="*/ 4752870 w 5933552"/>
                <a:gd name="connsiteY31" fmla="*/ 686349 h 2219849"/>
                <a:gd name="connsiteX32" fmla="*/ 5164853 w 5933552"/>
                <a:gd name="connsiteY32" fmla="*/ 761711 h 2219849"/>
                <a:gd name="connsiteX33" fmla="*/ 5441182 w 5933552"/>
                <a:gd name="connsiteY33" fmla="*/ 827026 h 2219849"/>
                <a:gd name="connsiteX34" fmla="*/ 5612004 w 5933552"/>
                <a:gd name="connsiteY34" fmla="*/ 902388 h 2219849"/>
                <a:gd name="connsiteX35" fmla="*/ 5807947 w 5933552"/>
                <a:gd name="connsiteY35" fmla="*/ 1048089 h 2219849"/>
                <a:gd name="connsiteX36" fmla="*/ 5823020 w 5933552"/>
                <a:gd name="connsiteY36" fmla="*/ 1118428 h 2219849"/>
                <a:gd name="connsiteX37" fmla="*/ 5838092 w 5933552"/>
                <a:gd name="connsiteY37" fmla="*/ 1218911 h 2219849"/>
                <a:gd name="connsiteX38" fmla="*/ 5823020 w 5933552"/>
                <a:gd name="connsiteY38" fmla="*/ 1249056 h 2219849"/>
                <a:gd name="connsiteX39" fmla="*/ 5863213 w 5933552"/>
                <a:gd name="connsiteY39" fmla="*/ 1299298 h 2219849"/>
                <a:gd name="connsiteX40" fmla="*/ 5893358 w 5933552"/>
                <a:gd name="connsiteY40" fmla="*/ 1359588 h 2219849"/>
                <a:gd name="connsiteX41" fmla="*/ 5893358 w 5933552"/>
                <a:gd name="connsiteY41" fmla="*/ 1434951 h 2219849"/>
                <a:gd name="connsiteX42" fmla="*/ 5928527 w 5933552"/>
                <a:gd name="connsiteY42" fmla="*/ 1495241 h 2219849"/>
                <a:gd name="connsiteX43" fmla="*/ 5918479 w 5933552"/>
                <a:gd name="connsiteY43" fmla="*/ 1605773 h 2219849"/>
                <a:gd name="connsiteX44" fmla="*/ 5898382 w 5933552"/>
                <a:gd name="connsiteY44" fmla="*/ 1686160 h 2219849"/>
                <a:gd name="connsiteX45" fmla="*/ 5918479 w 5933552"/>
                <a:gd name="connsiteY45" fmla="*/ 1776595 h 2219849"/>
                <a:gd name="connsiteX46" fmla="*/ 5933552 w 5933552"/>
                <a:gd name="connsiteY46" fmla="*/ 1811764 h 2219849"/>
                <a:gd name="connsiteX47" fmla="*/ 5812971 w 5933552"/>
                <a:gd name="connsiteY47" fmla="*/ 1872054 h 2219849"/>
                <a:gd name="connsiteX48" fmla="*/ 5812971 w 5933552"/>
                <a:gd name="connsiteY48" fmla="*/ 1872054 h 2219849"/>
                <a:gd name="connsiteX49" fmla="*/ 5727560 w 5933552"/>
                <a:gd name="connsiteY49" fmla="*/ 1932344 h 2219849"/>
                <a:gd name="connsiteX50" fmla="*/ 5390941 w 5933552"/>
                <a:gd name="connsiteY50" fmla="*/ 1937369 h 2219849"/>
                <a:gd name="connsiteX51" fmla="*/ 5215670 w 5933552"/>
                <a:gd name="connsiteY51" fmla="*/ 1935977 h 2219849"/>
                <a:gd name="connsiteX52" fmla="*/ 4373414 w 5933552"/>
                <a:gd name="connsiteY52" fmla="*/ 1917320 h 2219849"/>
                <a:gd name="connsiteX53" fmla="*/ 1657301 w 5933552"/>
                <a:gd name="connsiteY53" fmla="*/ 1891925 h 2219849"/>
                <a:gd name="connsiteX54" fmla="*/ 507442 w 5933552"/>
                <a:gd name="connsiteY54" fmla="*/ 1836885 h 2219849"/>
                <a:gd name="connsiteX55" fmla="*/ 281354 w 5933552"/>
                <a:gd name="connsiteY55" fmla="*/ 1836885 h 2219849"/>
                <a:gd name="connsiteX56" fmla="*/ 130629 w 5933552"/>
                <a:gd name="connsiteY56" fmla="*/ 1761522 h 2219849"/>
                <a:gd name="connsiteX57" fmla="*/ 10048 w 5933552"/>
                <a:gd name="connsiteY57" fmla="*/ 1681136 h 2219849"/>
                <a:gd name="connsiteX58" fmla="*/ 0 w 5933552"/>
                <a:gd name="connsiteY58" fmla="*/ 1540459 h 2219849"/>
                <a:gd name="connsiteX59" fmla="*/ 15072 w 5933552"/>
                <a:gd name="connsiteY59" fmla="*/ 1490217 h 2219849"/>
                <a:gd name="connsiteX60" fmla="*/ 15072 w 5933552"/>
                <a:gd name="connsiteY60" fmla="*/ 1434951 h 2219849"/>
                <a:gd name="connsiteX61" fmla="*/ 25121 w 5933552"/>
                <a:gd name="connsiteY61" fmla="*/ 1384709 h 2219849"/>
                <a:gd name="connsiteX62" fmla="*/ 40193 w 5933552"/>
                <a:gd name="connsiteY62" fmla="*/ 1359588 h 2219849"/>
                <a:gd name="connsiteX63" fmla="*/ 65314 w 5933552"/>
                <a:gd name="connsiteY63" fmla="*/ 1314371 h 2219849"/>
                <a:gd name="connsiteX0" fmla="*/ 65314 w 5933552"/>
                <a:gd name="connsiteY0" fmla="*/ 1314371 h 2230378"/>
                <a:gd name="connsiteX1" fmla="*/ 75363 w 5933552"/>
                <a:gd name="connsiteY1" fmla="*/ 1083259 h 2230378"/>
                <a:gd name="connsiteX2" fmla="*/ 45218 w 5933552"/>
                <a:gd name="connsiteY2" fmla="*/ 1073210 h 2230378"/>
                <a:gd name="connsiteX3" fmla="*/ 95459 w 5933552"/>
                <a:gd name="connsiteY3" fmla="*/ 887316 h 2230378"/>
                <a:gd name="connsiteX4" fmla="*/ 80387 w 5933552"/>
                <a:gd name="connsiteY4" fmla="*/ 771760 h 2230378"/>
                <a:gd name="connsiteX5" fmla="*/ 85411 w 5933552"/>
                <a:gd name="connsiteY5" fmla="*/ 716494 h 2230378"/>
                <a:gd name="connsiteX6" fmla="*/ 105508 w 5933552"/>
                <a:gd name="connsiteY6" fmla="*/ 696397 h 2230378"/>
                <a:gd name="connsiteX7" fmla="*/ 135653 w 5933552"/>
                <a:gd name="connsiteY7" fmla="*/ 676300 h 2230378"/>
                <a:gd name="connsiteX8" fmla="*/ 467248 w 5933552"/>
                <a:gd name="connsiteY8" fmla="*/ 329632 h 2230378"/>
                <a:gd name="connsiteX9" fmla="*/ 472272 w 5933552"/>
                <a:gd name="connsiteY9" fmla="*/ 284415 h 2230378"/>
                <a:gd name="connsiteX10" fmla="*/ 442127 w 5933552"/>
                <a:gd name="connsiteY10" fmla="*/ 259294 h 2230378"/>
                <a:gd name="connsiteX11" fmla="*/ 406958 w 5933552"/>
                <a:gd name="connsiteY11" fmla="*/ 229149 h 2230378"/>
                <a:gd name="connsiteX12" fmla="*/ 406958 w 5933552"/>
                <a:gd name="connsiteY12" fmla="*/ 204028 h 2230378"/>
                <a:gd name="connsiteX13" fmla="*/ 462224 w 5933552"/>
                <a:gd name="connsiteY13" fmla="*/ 193980 h 2230378"/>
                <a:gd name="connsiteX14" fmla="*/ 864158 w 5933552"/>
                <a:gd name="connsiteY14" fmla="*/ 143738 h 2230378"/>
                <a:gd name="connsiteX15" fmla="*/ 999811 w 5933552"/>
                <a:gd name="connsiteY15" fmla="*/ 88472 h 2230378"/>
                <a:gd name="connsiteX16" fmla="*/ 1024932 w 5933552"/>
                <a:gd name="connsiteY16" fmla="*/ 78424 h 2230378"/>
                <a:gd name="connsiteX17" fmla="*/ 999811 w 5933552"/>
                <a:gd name="connsiteY17" fmla="*/ 28182 h 2230378"/>
                <a:gd name="connsiteX18" fmla="*/ 1070149 w 5933552"/>
                <a:gd name="connsiteY18" fmla="*/ 33206 h 2230378"/>
                <a:gd name="connsiteX19" fmla="*/ 1130439 w 5933552"/>
                <a:gd name="connsiteY19" fmla="*/ 53303 h 2230378"/>
                <a:gd name="connsiteX20" fmla="*/ 1160585 w 5933552"/>
                <a:gd name="connsiteY20" fmla="*/ 63351 h 2230378"/>
                <a:gd name="connsiteX21" fmla="*/ 1683099 w 5933552"/>
                <a:gd name="connsiteY21" fmla="*/ 13109 h 2230378"/>
                <a:gd name="connsiteX22" fmla="*/ 2306097 w 5933552"/>
                <a:gd name="connsiteY22" fmla="*/ 3061 h 2230378"/>
                <a:gd name="connsiteX23" fmla="*/ 3029578 w 5933552"/>
                <a:gd name="connsiteY23" fmla="*/ 58327 h 2230378"/>
                <a:gd name="connsiteX24" fmla="*/ 3135086 w 5933552"/>
                <a:gd name="connsiteY24" fmla="*/ 78424 h 2230378"/>
                <a:gd name="connsiteX25" fmla="*/ 3255666 w 5933552"/>
                <a:gd name="connsiteY25" fmla="*/ 98520 h 2230378"/>
                <a:gd name="connsiteX26" fmla="*/ 3542044 w 5933552"/>
                <a:gd name="connsiteY26" fmla="*/ 183931 h 2230378"/>
                <a:gd name="connsiteX27" fmla="*/ 3798277 w 5933552"/>
                <a:gd name="connsiteY27" fmla="*/ 319584 h 2230378"/>
                <a:gd name="connsiteX28" fmla="*/ 4210259 w 5933552"/>
                <a:gd name="connsiteY28" fmla="*/ 545672 h 2230378"/>
                <a:gd name="connsiteX29" fmla="*/ 4340888 w 5933552"/>
                <a:gd name="connsiteY29" fmla="*/ 626059 h 2230378"/>
                <a:gd name="connsiteX30" fmla="*/ 4381081 w 5933552"/>
                <a:gd name="connsiteY30" fmla="*/ 656204 h 2230378"/>
                <a:gd name="connsiteX31" fmla="*/ 4752870 w 5933552"/>
                <a:gd name="connsiteY31" fmla="*/ 686349 h 2230378"/>
                <a:gd name="connsiteX32" fmla="*/ 5164853 w 5933552"/>
                <a:gd name="connsiteY32" fmla="*/ 761711 h 2230378"/>
                <a:gd name="connsiteX33" fmla="*/ 5441182 w 5933552"/>
                <a:gd name="connsiteY33" fmla="*/ 827026 h 2230378"/>
                <a:gd name="connsiteX34" fmla="*/ 5612004 w 5933552"/>
                <a:gd name="connsiteY34" fmla="*/ 902388 h 2230378"/>
                <a:gd name="connsiteX35" fmla="*/ 5807947 w 5933552"/>
                <a:gd name="connsiteY35" fmla="*/ 1048089 h 2230378"/>
                <a:gd name="connsiteX36" fmla="*/ 5823020 w 5933552"/>
                <a:gd name="connsiteY36" fmla="*/ 1118428 h 2230378"/>
                <a:gd name="connsiteX37" fmla="*/ 5838092 w 5933552"/>
                <a:gd name="connsiteY37" fmla="*/ 1218911 h 2230378"/>
                <a:gd name="connsiteX38" fmla="*/ 5823020 w 5933552"/>
                <a:gd name="connsiteY38" fmla="*/ 1249056 h 2230378"/>
                <a:gd name="connsiteX39" fmla="*/ 5863213 w 5933552"/>
                <a:gd name="connsiteY39" fmla="*/ 1299298 h 2230378"/>
                <a:gd name="connsiteX40" fmla="*/ 5893358 w 5933552"/>
                <a:gd name="connsiteY40" fmla="*/ 1359588 h 2230378"/>
                <a:gd name="connsiteX41" fmla="*/ 5893358 w 5933552"/>
                <a:gd name="connsiteY41" fmla="*/ 1434951 h 2230378"/>
                <a:gd name="connsiteX42" fmla="*/ 5928527 w 5933552"/>
                <a:gd name="connsiteY42" fmla="*/ 1495241 h 2230378"/>
                <a:gd name="connsiteX43" fmla="*/ 5918479 w 5933552"/>
                <a:gd name="connsiteY43" fmla="*/ 1605773 h 2230378"/>
                <a:gd name="connsiteX44" fmla="*/ 5898382 w 5933552"/>
                <a:gd name="connsiteY44" fmla="*/ 1686160 h 2230378"/>
                <a:gd name="connsiteX45" fmla="*/ 5918479 w 5933552"/>
                <a:gd name="connsiteY45" fmla="*/ 1776595 h 2230378"/>
                <a:gd name="connsiteX46" fmla="*/ 5933552 w 5933552"/>
                <a:gd name="connsiteY46" fmla="*/ 1811764 h 2230378"/>
                <a:gd name="connsiteX47" fmla="*/ 5812971 w 5933552"/>
                <a:gd name="connsiteY47" fmla="*/ 1872054 h 2230378"/>
                <a:gd name="connsiteX48" fmla="*/ 5812971 w 5933552"/>
                <a:gd name="connsiteY48" fmla="*/ 1872054 h 2230378"/>
                <a:gd name="connsiteX49" fmla="*/ 5727560 w 5933552"/>
                <a:gd name="connsiteY49" fmla="*/ 1932344 h 2230378"/>
                <a:gd name="connsiteX50" fmla="*/ 5390941 w 5933552"/>
                <a:gd name="connsiteY50" fmla="*/ 1937369 h 2230378"/>
                <a:gd name="connsiteX51" fmla="*/ 5215670 w 5933552"/>
                <a:gd name="connsiteY51" fmla="*/ 1935977 h 2230378"/>
                <a:gd name="connsiteX52" fmla="*/ 4373414 w 5933552"/>
                <a:gd name="connsiteY52" fmla="*/ 1917320 h 2230378"/>
                <a:gd name="connsiteX53" fmla="*/ 1657301 w 5933552"/>
                <a:gd name="connsiteY53" fmla="*/ 1891925 h 2230378"/>
                <a:gd name="connsiteX54" fmla="*/ 507442 w 5933552"/>
                <a:gd name="connsiteY54" fmla="*/ 1836885 h 2230378"/>
                <a:gd name="connsiteX55" fmla="*/ 281354 w 5933552"/>
                <a:gd name="connsiteY55" fmla="*/ 1836885 h 2230378"/>
                <a:gd name="connsiteX56" fmla="*/ 130629 w 5933552"/>
                <a:gd name="connsiteY56" fmla="*/ 1761522 h 2230378"/>
                <a:gd name="connsiteX57" fmla="*/ 10048 w 5933552"/>
                <a:gd name="connsiteY57" fmla="*/ 1681136 h 2230378"/>
                <a:gd name="connsiteX58" fmla="*/ 0 w 5933552"/>
                <a:gd name="connsiteY58" fmla="*/ 1540459 h 2230378"/>
                <a:gd name="connsiteX59" fmla="*/ 15072 w 5933552"/>
                <a:gd name="connsiteY59" fmla="*/ 1490217 h 2230378"/>
                <a:gd name="connsiteX60" fmla="*/ 15072 w 5933552"/>
                <a:gd name="connsiteY60" fmla="*/ 1434951 h 2230378"/>
                <a:gd name="connsiteX61" fmla="*/ 25121 w 5933552"/>
                <a:gd name="connsiteY61" fmla="*/ 1384709 h 2230378"/>
                <a:gd name="connsiteX62" fmla="*/ 40193 w 5933552"/>
                <a:gd name="connsiteY62" fmla="*/ 1359588 h 2230378"/>
                <a:gd name="connsiteX63" fmla="*/ 65314 w 5933552"/>
                <a:gd name="connsiteY63" fmla="*/ 1314371 h 2230378"/>
                <a:gd name="connsiteX0" fmla="*/ 65314 w 5933552"/>
                <a:gd name="connsiteY0" fmla="*/ 1314371 h 2238835"/>
                <a:gd name="connsiteX1" fmla="*/ 75363 w 5933552"/>
                <a:gd name="connsiteY1" fmla="*/ 1083259 h 2238835"/>
                <a:gd name="connsiteX2" fmla="*/ 45218 w 5933552"/>
                <a:gd name="connsiteY2" fmla="*/ 1073210 h 2238835"/>
                <a:gd name="connsiteX3" fmla="*/ 95459 w 5933552"/>
                <a:gd name="connsiteY3" fmla="*/ 887316 h 2238835"/>
                <a:gd name="connsiteX4" fmla="*/ 80387 w 5933552"/>
                <a:gd name="connsiteY4" fmla="*/ 771760 h 2238835"/>
                <a:gd name="connsiteX5" fmla="*/ 85411 w 5933552"/>
                <a:gd name="connsiteY5" fmla="*/ 716494 h 2238835"/>
                <a:gd name="connsiteX6" fmla="*/ 105508 w 5933552"/>
                <a:gd name="connsiteY6" fmla="*/ 696397 h 2238835"/>
                <a:gd name="connsiteX7" fmla="*/ 135653 w 5933552"/>
                <a:gd name="connsiteY7" fmla="*/ 676300 h 2238835"/>
                <a:gd name="connsiteX8" fmla="*/ 467248 w 5933552"/>
                <a:gd name="connsiteY8" fmla="*/ 329632 h 2238835"/>
                <a:gd name="connsiteX9" fmla="*/ 472272 w 5933552"/>
                <a:gd name="connsiteY9" fmla="*/ 284415 h 2238835"/>
                <a:gd name="connsiteX10" fmla="*/ 442127 w 5933552"/>
                <a:gd name="connsiteY10" fmla="*/ 259294 h 2238835"/>
                <a:gd name="connsiteX11" fmla="*/ 406958 w 5933552"/>
                <a:gd name="connsiteY11" fmla="*/ 229149 h 2238835"/>
                <a:gd name="connsiteX12" fmla="*/ 406958 w 5933552"/>
                <a:gd name="connsiteY12" fmla="*/ 204028 h 2238835"/>
                <a:gd name="connsiteX13" fmla="*/ 462224 w 5933552"/>
                <a:gd name="connsiteY13" fmla="*/ 193980 h 2238835"/>
                <a:gd name="connsiteX14" fmla="*/ 864158 w 5933552"/>
                <a:gd name="connsiteY14" fmla="*/ 143738 h 2238835"/>
                <a:gd name="connsiteX15" fmla="*/ 999811 w 5933552"/>
                <a:gd name="connsiteY15" fmla="*/ 88472 h 2238835"/>
                <a:gd name="connsiteX16" fmla="*/ 1024932 w 5933552"/>
                <a:gd name="connsiteY16" fmla="*/ 78424 h 2238835"/>
                <a:gd name="connsiteX17" fmla="*/ 999811 w 5933552"/>
                <a:gd name="connsiteY17" fmla="*/ 28182 h 2238835"/>
                <a:gd name="connsiteX18" fmla="*/ 1070149 w 5933552"/>
                <a:gd name="connsiteY18" fmla="*/ 33206 h 2238835"/>
                <a:gd name="connsiteX19" fmla="*/ 1130439 w 5933552"/>
                <a:gd name="connsiteY19" fmla="*/ 53303 h 2238835"/>
                <a:gd name="connsiteX20" fmla="*/ 1160585 w 5933552"/>
                <a:gd name="connsiteY20" fmla="*/ 63351 h 2238835"/>
                <a:gd name="connsiteX21" fmla="*/ 1683099 w 5933552"/>
                <a:gd name="connsiteY21" fmla="*/ 13109 h 2238835"/>
                <a:gd name="connsiteX22" fmla="*/ 2306097 w 5933552"/>
                <a:gd name="connsiteY22" fmla="*/ 3061 h 2238835"/>
                <a:gd name="connsiteX23" fmla="*/ 3029578 w 5933552"/>
                <a:gd name="connsiteY23" fmla="*/ 58327 h 2238835"/>
                <a:gd name="connsiteX24" fmla="*/ 3135086 w 5933552"/>
                <a:gd name="connsiteY24" fmla="*/ 78424 h 2238835"/>
                <a:gd name="connsiteX25" fmla="*/ 3255666 w 5933552"/>
                <a:gd name="connsiteY25" fmla="*/ 98520 h 2238835"/>
                <a:gd name="connsiteX26" fmla="*/ 3542044 w 5933552"/>
                <a:gd name="connsiteY26" fmla="*/ 183931 h 2238835"/>
                <a:gd name="connsiteX27" fmla="*/ 3798277 w 5933552"/>
                <a:gd name="connsiteY27" fmla="*/ 319584 h 2238835"/>
                <a:gd name="connsiteX28" fmla="*/ 4210259 w 5933552"/>
                <a:gd name="connsiteY28" fmla="*/ 545672 h 2238835"/>
                <a:gd name="connsiteX29" fmla="*/ 4340888 w 5933552"/>
                <a:gd name="connsiteY29" fmla="*/ 626059 h 2238835"/>
                <a:gd name="connsiteX30" fmla="*/ 4381081 w 5933552"/>
                <a:gd name="connsiteY30" fmla="*/ 656204 h 2238835"/>
                <a:gd name="connsiteX31" fmla="*/ 4752870 w 5933552"/>
                <a:gd name="connsiteY31" fmla="*/ 686349 h 2238835"/>
                <a:gd name="connsiteX32" fmla="*/ 5164853 w 5933552"/>
                <a:gd name="connsiteY32" fmla="*/ 761711 h 2238835"/>
                <a:gd name="connsiteX33" fmla="*/ 5441182 w 5933552"/>
                <a:gd name="connsiteY33" fmla="*/ 827026 h 2238835"/>
                <a:gd name="connsiteX34" fmla="*/ 5612004 w 5933552"/>
                <a:gd name="connsiteY34" fmla="*/ 902388 h 2238835"/>
                <a:gd name="connsiteX35" fmla="*/ 5807947 w 5933552"/>
                <a:gd name="connsiteY35" fmla="*/ 1048089 h 2238835"/>
                <a:gd name="connsiteX36" fmla="*/ 5823020 w 5933552"/>
                <a:gd name="connsiteY36" fmla="*/ 1118428 h 2238835"/>
                <a:gd name="connsiteX37" fmla="*/ 5838092 w 5933552"/>
                <a:gd name="connsiteY37" fmla="*/ 1218911 h 2238835"/>
                <a:gd name="connsiteX38" fmla="*/ 5823020 w 5933552"/>
                <a:gd name="connsiteY38" fmla="*/ 1249056 h 2238835"/>
                <a:gd name="connsiteX39" fmla="*/ 5863213 w 5933552"/>
                <a:gd name="connsiteY39" fmla="*/ 1299298 h 2238835"/>
                <a:gd name="connsiteX40" fmla="*/ 5893358 w 5933552"/>
                <a:gd name="connsiteY40" fmla="*/ 1359588 h 2238835"/>
                <a:gd name="connsiteX41" fmla="*/ 5893358 w 5933552"/>
                <a:gd name="connsiteY41" fmla="*/ 1434951 h 2238835"/>
                <a:gd name="connsiteX42" fmla="*/ 5928527 w 5933552"/>
                <a:gd name="connsiteY42" fmla="*/ 1495241 h 2238835"/>
                <a:gd name="connsiteX43" fmla="*/ 5918479 w 5933552"/>
                <a:gd name="connsiteY43" fmla="*/ 1605773 h 2238835"/>
                <a:gd name="connsiteX44" fmla="*/ 5898382 w 5933552"/>
                <a:gd name="connsiteY44" fmla="*/ 1686160 h 2238835"/>
                <a:gd name="connsiteX45" fmla="*/ 5918479 w 5933552"/>
                <a:gd name="connsiteY45" fmla="*/ 1776595 h 2238835"/>
                <a:gd name="connsiteX46" fmla="*/ 5933552 w 5933552"/>
                <a:gd name="connsiteY46" fmla="*/ 1811764 h 2238835"/>
                <a:gd name="connsiteX47" fmla="*/ 5812971 w 5933552"/>
                <a:gd name="connsiteY47" fmla="*/ 1872054 h 2238835"/>
                <a:gd name="connsiteX48" fmla="*/ 5812971 w 5933552"/>
                <a:gd name="connsiteY48" fmla="*/ 1872054 h 2238835"/>
                <a:gd name="connsiteX49" fmla="*/ 5727560 w 5933552"/>
                <a:gd name="connsiteY49" fmla="*/ 1932344 h 2238835"/>
                <a:gd name="connsiteX50" fmla="*/ 5390941 w 5933552"/>
                <a:gd name="connsiteY50" fmla="*/ 1937369 h 2238835"/>
                <a:gd name="connsiteX51" fmla="*/ 5215670 w 5933552"/>
                <a:gd name="connsiteY51" fmla="*/ 1935977 h 2238835"/>
                <a:gd name="connsiteX52" fmla="*/ 4373414 w 5933552"/>
                <a:gd name="connsiteY52" fmla="*/ 1917320 h 2238835"/>
                <a:gd name="connsiteX53" fmla="*/ 1657301 w 5933552"/>
                <a:gd name="connsiteY53" fmla="*/ 1891925 h 2238835"/>
                <a:gd name="connsiteX54" fmla="*/ 507442 w 5933552"/>
                <a:gd name="connsiteY54" fmla="*/ 1836885 h 2238835"/>
                <a:gd name="connsiteX55" fmla="*/ 281354 w 5933552"/>
                <a:gd name="connsiteY55" fmla="*/ 1836885 h 2238835"/>
                <a:gd name="connsiteX56" fmla="*/ 130629 w 5933552"/>
                <a:gd name="connsiteY56" fmla="*/ 1761522 h 2238835"/>
                <a:gd name="connsiteX57" fmla="*/ 10048 w 5933552"/>
                <a:gd name="connsiteY57" fmla="*/ 1681136 h 2238835"/>
                <a:gd name="connsiteX58" fmla="*/ 0 w 5933552"/>
                <a:gd name="connsiteY58" fmla="*/ 1540459 h 2238835"/>
                <a:gd name="connsiteX59" fmla="*/ 15072 w 5933552"/>
                <a:gd name="connsiteY59" fmla="*/ 1490217 h 2238835"/>
                <a:gd name="connsiteX60" fmla="*/ 15072 w 5933552"/>
                <a:gd name="connsiteY60" fmla="*/ 1434951 h 2238835"/>
                <a:gd name="connsiteX61" fmla="*/ 25121 w 5933552"/>
                <a:gd name="connsiteY61" fmla="*/ 1384709 h 2238835"/>
                <a:gd name="connsiteX62" fmla="*/ 40193 w 5933552"/>
                <a:gd name="connsiteY62" fmla="*/ 1359588 h 2238835"/>
                <a:gd name="connsiteX63" fmla="*/ 65314 w 5933552"/>
                <a:gd name="connsiteY63" fmla="*/ 1314371 h 2238835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657301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382327"/>
                <a:gd name="connsiteX1" fmla="*/ 75363 w 5933552"/>
                <a:gd name="connsiteY1" fmla="*/ 1083259 h 2382327"/>
                <a:gd name="connsiteX2" fmla="*/ 45218 w 5933552"/>
                <a:gd name="connsiteY2" fmla="*/ 1073210 h 2382327"/>
                <a:gd name="connsiteX3" fmla="*/ 95459 w 5933552"/>
                <a:gd name="connsiteY3" fmla="*/ 887316 h 2382327"/>
                <a:gd name="connsiteX4" fmla="*/ 80387 w 5933552"/>
                <a:gd name="connsiteY4" fmla="*/ 771760 h 2382327"/>
                <a:gd name="connsiteX5" fmla="*/ 85411 w 5933552"/>
                <a:gd name="connsiteY5" fmla="*/ 716494 h 2382327"/>
                <a:gd name="connsiteX6" fmla="*/ 105508 w 5933552"/>
                <a:gd name="connsiteY6" fmla="*/ 696397 h 2382327"/>
                <a:gd name="connsiteX7" fmla="*/ 135653 w 5933552"/>
                <a:gd name="connsiteY7" fmla="*/ 676300 h 2382327"/>
                <a:gd name="connsiteX8" fmla="*/ 467248 w 5933552"/>
                <a:gd name="connsiteY8" fmla="*/ 329632 h 2382327"/>
                <a:gd name="connsiteX9" fmla="*/ 472272 w 5933552"/>
                <a:gd name="connsiteY9" fmla="*/ 284415 h 2382327"/>
                <a:gd name="connsiteX10" fmla="*/ 442127 w 5933552"/>
                <a:gd name="connsiteY10" fmla="*/ 259294 h 2382327"/>
                <a:gd name="connsiteX11" fmla="*/ 406958 w 5933552"/>
                <a:gd name="connsiteY11" fmla="*/ 229149 h 2382327"/>
                <a:gd name="connsiteX12" fmla="*/ 406958 w 5933552"/>
                <a:gd name="connsiteY12" fmla="*/ 204028 h 2382327"/>
                <a:gd name="connsiteX13" fmla="*/ 462224 w 5933552"/>
                <a:gd name="connsiteY13" fmla="*/ 193980 h 2382327"/>
                <a:gd name="connsiteX14" fmla="*/ 864158 w 5933552"/>
                <a:gd name="connsiteY14" fmla="*/ 143738 h 2382327"/>
                <a:gd name="connsiteX15" fmla="*/ 999811 w 5933552"/>
                <a:gd name="connsiteY15" fmla="*/ 88472 h 2382327"/>
                <a:gd name="connsiteX16" fmla="*/ 1024932 w 5933552"/>
                <a:gd name="connsiteY16" fmla="*/ 78424 h 2382327"/>
                <a:gd name="connsiteX17" fmla="*/ 999811 w 5933552"/>
                <a:gd name="connsiteY17" fmla="*/ 28182 h 2382327"/>
                <a:gd name="connsiteX18" fmla="*/ 1070149 w 5933552"/>
                <a:gd name="connsiteY18" fmla="*/ 33206 h 2382327"/>
                <a:gd name="connsiteX19" fmla="*/ 1130439 w 5933552"/>
                <a:gd name="connsiteY19" fmla="*/ 53303 h 2382327"/>
                <a:gd name="connsiteX20" fmla="*/ 1160585 w 5933552"/>
                <a:gd name="connsiteY20" fmla="*/ 63351 h 2382327"/>
                <a:gd name="connsiteX21" fmla="*/ 1683099 w 5933552"/>
                <a:gd name="connsiteY21" fmla="*/ 13109 h 2382327"/>
                <a:gd name="connsiteX22" fmla="*/ 2306097 w 5933552"/>
                <a:gd name="connsiteY22" fmla="*/ 3061 h 2382327"/>
                <a:gd name="connsiteX23" fmla="*/ 3029578 w 5933552"/>
                <a:gd name="connsiteY23" fmla="*/ 58327 h 2382327"/>
                <a:gd name="connsiteX24" fmla="*/ 3135086 w 5933552"/>
                <a:gd name="connsiteY24" fmla="*/ 78424 h 2382327"/>
                <a:gd name="connsiteX25" fmla="*/ 3255666 w 5933552"/>
                <a:gd name="connsiteY25" fmla="*/ 98520 h 2382327"/>
                <a:gd name="connsiteX26" fmla="*/ 3542044 w 5933552"/>
                <a:gd name="connsiteY26" fmla="*/ 183931 h 2382327"/>
                <a:gd name="connsiteX27" fmla="*/ 3798277 w 5933552"/>
                <a:gd name="connsiteY27" fmla="*/ 319584 h 2382327"/>
                <a:gd name="connsiteX28" fmla="*/ 4210259 w 5933552"/>
                <a:gd name="connsiteY28" fmla="*/ 545672 h 2382327"/>
                <a:gd name="connsiteX29" fmla="*/ 4340888 w 5933552"/>
                <a:gd name="connsiteY29" fmla="*/ 626059 h 2382327"/>
                <a:gd name="connsiteX30" fmla="*/ 4381081 w 5933552"/>
                <a:gd name="connsiteY30" fmla="*/ 656204 h 2382327"/>
                <a:gd name="connsiteX31" fmla="*/ 4752870 w 5933552"/>
                <a:gd name="connsiteY31" fmla="*/ 686349 h 2382327"/>
                <a:gd name="connsiteX32" fmla="*/ 5164853 w 5933552"/>
                <a:gd name="connsiteY32" fmla="*/ 761711 h 2382327"/>
                <a:gd name="connsiteX33" fmla="*/ 5441182 w 5933552"/>
                <a:gd name="connsiteY33" fmla="*/ 827026 h 2382327"/>
                <a:gd name="connsiteX34" fmla="*/ 5612004 w 5933552"/>
                <a:gd name="connsiteY34" fmla="*/ 902388 h 2382327"/>
                <a:gd name="connsiteX35" fmla="*/ 5807947 w 5933552"/>
                <a:gd name="connsiteY35" fmla="*/ 1048089 h 2382327"/>
                <a:gd name="connsiteX36" fmla="*/ 5823020 w 5933552"/>
                <a:gd name="connsiteY36" fmla="*/ 1118428 h 2382327"/>
                <a:gd name="connsiteX37" fmla="*/ 5838092 w 5933552"/>
                <a:gd name="connsiteY37" fmla="*/ 1218911 h 2382327"/>
                <a:gd name="connsiteX38" fmla="*/ 5823020 w 5933552"/>
                <a:gd name="connsiteY38" fmla="*/ 1249056 h 2382327"/>
                <a:gd name="connsiteX39" fmla="*/ 5863213 w 5933552"/>
                <a:gd name="connsiteY39" fmla="*/ 1299298 h 2382327"/>
                <a:gd name="connsiteX40" fmla="*/ 5893358 w 5933552"/>
                <a:gd name="connsiteY40" fmla="*/ 1359588 h 2382327"/>
                <a:gd name="connsiteX41" fmla="*/ 5893358 w 5933552"/>
                <a:gd name="connsiteY41" fmla="*/ 1434951 h 2382327"/>
                <a:gd name="connsiteX42" fmla="*/ 5928527 w 5933552"/>
                <a:gd name="connsiteY42" fmla="*/ 1495241 h 2382327"/>
                <a:gd name="connsiteX43" fmla="*/ 5918479 w 5933552"/>
                <a:gd name="connsiteY43" fmla="*/ 1605773 h 2382327"/>
                <a:gd name="connsiteX44" fmla="*/ 5898382 w 5933552"/>
                <a:gd name="connsiteY44" fmla="*/ 1686160 h 2382327"/>
                <a:gd name="connsiteX45" fmla="*/ 5918479 w 5933552"/>
                <a:gd name="connsiteY45" fmla="*/ 1776595 h 2382327"/>
                <a:gd name="connsiteX46" fmla="*/ 5933552 w 5933552"/>
                <a:gd name="connsiteY46" fmla="*/ 1811764 h 2382327"/>
                <a:gd name="connsiteX47" fmla="*/ 5812971 w 5933552"/>
                <a:gd name="connsiteY47" fmla="*/ 1872054 h 2382327"/>
                <a:gd name="connsiteX48" fmla="*/ 5812971 w 5933552"/>
                <a:gd name="connsiteY48" fmla="*/ 1872054 h 2382327"/>
                <a:gd name="connsiteX49" fmla="*/ 5727560 w 5933552"/>
                <a:gd name="connsiteY49" fmla="*/ 1932344 h 2382327"/>
                <a:gd name="connsiteX50" fmla="*/ 5390941 w 5933552"/>
                <a:gd name="connsiteY50" fmla="*/ 1937369 h 2382327"/>
                <a:gd name="connsiteX51" fmla="*/ 5215670 w 5933552"/>
                <a:gd name="connsiteY51" fmla="*/ 1935977 h 2382327"/>
                <a:gd name="connsiteX52" fmla="*/ 4373414 w 5933552"/>
                <a:gd name="connsiteY52" fmla="*/ 1917320 h 2382327"/>
                <a:gd name="connsiteX53" fmla="*/ 1519267 w 5933552"/>
                <a:gd name="connsiteY53" fmla="*/ 1891925 h 2382327"/>
                <a:gd name="connsiteX54" fmla="*/ 619914 w 5933552"/>
                <a:gd name="connsiteY54" fmla="*/ 1836885 h 2382327"/>
                <a:gd name="connsiteX55" fmla="*/ 281354 w 5933552"/>
                <a:gd name="connsiteY55" fmla="*/ 1836885 h 2382327"/>
                <a:gd name="connsiteX56" fmla="*/ 130629 w 5933552"/>
                <a:gd name="connsiteY56" fmla="*/ 1761522 h 2382327"/>
                <a:gd name="connsiteX57" fmla="*/ 10048 w 5933552"/>
                <a:gd name="connsiteY57" fmla="*/ 1681136 h 2382327"/>
                <a:gd name="connsiteX58" fmla="*/ 0 w 5933552"/>
                <a:gd name="connsiteY58" fmla="*/ 1540459 h 2382327"/>
                <a:gd name="connsiteX59" fmla="*/ 15072 w 5933552"/>
                <a:gd name="connsiteY59" fmla="*/ 1490217 h 2382327"/>
                <a:gd name="connsiteX60" fmla="*/ 15072 w 5933552"/>
                <a:gd name="connsiteY60" fmla="*/ 1434951 h 2382327"/>
                <a:gd name="connsiteX61" fmla="*/ 25121 w 5933552"/>
                <a:gd name="connsiteY61" fmla="*/ 1384709 h 2382327"/>
                <a:gd name="connsiteX62" fmla="*/ 40193 w 5933552"/>
                <a:gd name="connsiteY62" fmla="*/ 1359588 h 2382327"/>
                <a:gd name="connsiteX63" fmla="*/ 65314 w 5933552"/>
                <a:gd name="connsiteY63" fmla="*/ 1314371 h 2382327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993"/>
                <a:gd name="connsiteX1" fmla="*/ 75363 w 5933552"/>
                <a:gd name="connsiteY1" fmla="*/ 1083259 h 2234993"/>
                <a:gd name="connsiteX2" fmla="*/ 45218 w 5933552"/>
                <a:gd name="connsiteY2" fmla="*/ 1073210 h 2234993"/>
                <a:gd name="connsiteX3" fmla="*/ 95459 w 5933552"/>
                <a:gd name="connsiteY3" fmla="*/ 887316 h 2234993"/>
                <a:gd name="connsiteX4" fmla="*/ 80387 w 5933552"/>
                <a:gd name="connsiteY4" fmla="*/ 771760 h 2234993"/>
                <a:gd name="connsiteX5" fmla="*/ 85411 w 5933552"/>
                <a:gd name="connsiteY5" fmla="*/ 716494 h 2234993"/>
                <a:gd name="connsiteX6" fmla="*/ 105508 w 5933552"/>
                <a:gd name="connsiteY6" fmla="*/ 696397 h 2234993"/>
                <a:gd name="connsiteX7" fmla="*/ 135653 w 5933552"/>
                <a:gd name="connsiteY7" fmla="*/ 676300 h 2234993"/>
                <a:gd name="connsiteX8" fmla="*/ 467248 w 5933552"/>
                <a:gd name="connsiteY8" fmla="*/ 329632 h 2234993"/>
                <a:gd name="connsiteX9" fmla="*/ 472272 w 5933552"/>
                <a:gd name="connsiteY9" fmla="*/ 284415 h 2234993"/>
                <a:gd name="connsiteX10" fmla="*/ 442127 w 5933552"/>
                <a:gd name="connsiteY10" fmla="*/ 259294 h 2234993"/>
                <a:gd name="connsiteX11" fmla="*/ 406958 w 5933552"/>
                <a:gd name="connsiteY11" fmla="*/ 229149 h 2234993"/>
                <a:gd name="connsiteX12" fmla="*/ 406958 w 5933552"/>
                <a:gd name="connsiteY12" fmla="*/ 204028 h 2234993"/>
                <a:gd name="connsiteX13" fmla="*/ 462224 w 5933552"/>
                <a:gd name="connsiteY13" fmla="*/ 193980 h 2234993"/>
                <a:gd name="connsiteX14" fmla="*/ 864158 w 5933552"/>
                <a:gd name="connsiteY14" fmla="*/ 143738 h 2234993"/>
                <a:gd name="connsiteX15" fmla="*/ 999811 w 5933552"/>
                <a:gd name="connsiteY15" fmla="*/ 88472 h 2234993"/>
                <a:gd name="connsiteX16" fmla="*/ 1024932 w 5933552"/>
                <a:gd name="connsiteY16" fmla="*/ 78424 h 2234993"/>
                <a:gd name="connsiteX17" fmla="*/ 999811 w 5933552"/>
                <a:gd name="connsiteY17" fmla="*/ 28182 h 2234993"/>
                <a:gd name="connsiteX18" fmla="*/ 1070149 w 5933552"/>
                <a:gd name="connsiteY18" fmla="*/ 33206 h 2234993"/>
                <a:gd name="connsiteX19" fmla="*/ 1130439 w 5933552"/>
                <a:gd name="connsiteY19" fmla="*/ 53303 h 2234993"/>
                <a:gd name="connsiteX20" fmla="*/ 1160585 w 5933552"/>
                <a:gd name="connsiteY20" fmla="*/ 63351 h 2234993"/>
                <a:gd name="connsiteX21" fmla="*/ 1683099 w 5933552"/>
                <a:gd name="connsiteY21" fmla="*/ 13109 h 2234993"/>
                <a:gd name="connsiteX22" fmla="*/ 2306097 w 5933552"/>
                <a:gd name="connsiteY22" fmla="*/ 3061 h 2234993"/>
                <a:gd name="connsiteX23" fmla="*/ 3029578 w 5933552"/>
                <a:gd name="connsiteY23" fmla="*/ 58327 h 2234993"/>
                <a:gd name="connsiteX24" fmla="*/ 3135086 w 5933552"/>
                <a:gd name="connsiteY24" fmla="*/ 78424 h 2234993"/>
                <a:gd name="connsiteX25" fmla="*/ 3255666 w 5933552"/>
                <a:gd name="connsiteY25" fmla="*/ 98520 h 2234993"/>
                <a:gd name="connsiteX26" fmla="*/ 3542044 w 5933552"/>
                <a:gd name="connsiteY26" fmla="*/ 183931 h 2234993"/>
                <a:gd name="connsiteX27" fmla="*/ 3798277 w 5933552"/>
                <a:gd name="connsiteY27" fmla="*/ 319584 h 2234993"/>
                <a:gd name="connsiteX28" fmla="*/ 4210259 w 5933552"/>
                <a:gd name="connsiteY28" fmla="*/ 545672 h 2234993"/>
                <a:gd name="connsiteX29" fmla="*/ 4340888 w 5933552"/>
                <a:gd name="connsiteY29" fmla="*/ 626059 h 2234993"/>
                <a:gd name="connsiteX30" fmla="*/ 4381081 w 5933552"/>
                <a:gd name="connsiteY30" fmla="*/ 656204 h 2234993"/>
                <a:gd name="connsiteX31" fmla="*/ 4752870 w 5933552"/>
                <a:gd name="connsiteY31" fmla="*/ 686349 h 2234993"/>
                <a:gd name="connsiteX32" fmla="*/ 5164853 w 5933552"/>
                <a:gd name="connsiteY32" fmla="*/ 761711 h 2234993"/>
                <a:gd name="connsiteX33" fmla="*/ 5441182 w 5933552"/>
                <a:gd name="connsiteY33" fmla="*/ 827026 h 2234993"/>
                <a:gd name="connsiteX34" fmla="*/ 5612004 w 5933552"/>
                <a:gd name="connsiteY34" fmla="*/ 902388 h 2234993"/>
                <a:gd name="connsiteX35" fmla="*/ 5807947 w 5933552"/>
                <a:gd name="connsiteY35" fmla="*/ 1048089 h 2234993"/>
                <a:gd name="connsiteX36" fmla="*/ 5823020 w 5933552"/>
                <a:gd name="connsiteY36" fmla="*/ 1118428 h 2234993"/>
                <a:gd name="connsiteX37" fmla="*/ 5838092 w 5933552"/>
                <a:gd name="connsiteY37" fmla="*/ 1218911 h 2234993"/>
                <a:gd name="connsiteX38" fmla="*/ 5823020 w 5933552"/>
                <a:gd name="connsiteY38" fmla="*/ 1249056 h 2234993"/>
                <a:gd name="connsiteX39" fmla="*/ 5863213 w 5933552"/>
                <a:gd name="connsiteY39" fmla="*/ 1299298 h 2234993"/>
                <a:gd name="connsiteX40" fmla="*/ 5893358 w 5933552"/>
                <a:gd name="connsiteY40" fmla="*/ 1359588 h 2234993"/>
                <a:gd name="connsiteX41" fmla="*/ 5893358 w 5933552"/>
                <a:gd name="connsiteY41" fmla="*/ 1434951 h 2234993"/>
                <a:gd name="connsiteX42" fmla="*/ 5928527 w 5933552"/>
                <a:gd name="connsiteY42" fmla="*/ 1495241 h 2234993"/>
                <a:gd name="connsiteX43" fmla="*/ 5918479 w 5933552"/>
                <a:gd name="connsiteY43" fmla="*/ 1605773 h 2234993"/>
                <a:gd name="connsiteX44" fmla="*/ 5898382 w 5933552"/>
                <a:gd name="connsiteY44" fmla="*/ 1686160 h 2234993"/>
                <a:gd name="connsiteX45" fmla="*/ 5918479 w 5933552"/>
                <a:gd name="connsiteY45" fmla="*/ 1776595 h 2234993"/>
                <a:gd name="connsiteX46" fmla="*/ 5933552 w 5933552"/>
                <a:gd name="connsiteY46" fmla="*/ 1811764 h 2234993"/>
                <a:gd name="connsiteX47" fmla="*/ 5812971 w 5933552"/>
                <a:gd name="connsiteY47" fmla="*/ 1872054 h 2234993"/>
                <a:gd name="connsiteX48" fmla="*/ 5812971 w 5933552"/>
                <a:gd name="connsiteY48" fmla="*/ 1872054 h 2234993"/>
                <a:gd name="connsiteX49" fmla="*/ 5727560 w 5933552"/>
                <a:gd name="connsiteY49" fmla="*/ 1932344 h 2234993"/>
                <a:gd name="connsiteX50" fmla="*/ 5390941 w 5933552"/>
                <a:gd name="connsiteY50" fmla="*/ 1937369 h 2234993"/>
                <a:gd name="connsiteX51" fmla="*/ 5215670 w 5933552"/>
                <a:gd name="connsiteY51" fmla="*/ 1935977 h 2234993"/>
                <a:gd name="connsiteX52" fmla="*/ 4373414 w 5933552"/>
                <a:gd name="connsiteY52" fmla="*/ 1917320 h 2234993"/>
                <a:gd name="connsiteX53" fmla="*/ 1519267 w 5933552"/>
                <a:gd name="connsiteY53" fmla="*/ 1891925 h 2234993"/>
                <a:gd name="connsiteX54" fmla="*/ 619914 w 5933552"/>
                <a:gd name="connsiteY54" fmla="*/ 1836885 h 2234993"/>
                <a:gd name="connsiteX55" fmla="*/ 281354 w 5933552"/>
                <a:gd name="connsiteY55" fmla="*/ 1836885 h 2234993"/>
                <a:gd name="connsiteX56" fmla="*/ 130629 w 5933552"/>
                <a:gd name="connsiteY56" fmla="*/ 1761522 h 2234993"/>
                <a:gd name="connsiteX57" fmla="*/ 10048 w 5933552"/>
                <a:gd name="connsiteY57" fmla="*/ 1681136 h 2234993"/>
                <a:gd name="connsiteX58" fmla="*/ 0 w 5933552"/>
                <a:gd name="connsiteY58" fmla="*/ 1540459 h 2234993"/>
                <a:gd name="connsiteX59" fmla="*/ 15072 w 5933552"/>
                <a:gd name="connsiteY59" fmla="*/ 1490217 h 2234993"/>
                <a:gd name="connsiteX60" fmla="*/ 15072 w 5933552"/>
                <a:gd name="connsiteY60" fmla="*/ 1434951 h 2234993"/>
                <a:gd name="connsiteX61" fmla="*/ 25121 w 5933552"/>
                <a:gd name="connsiteY61" fmla="*/ 1384709 h 2234993"/>
                <a:gd name="connsiteX62" fmla="*/ 40193 w 5933552"/>
                <a:gd name="connsiteY62" fmla="*/ 1359588 h 2234993"/>
                <a:gd name="connsiteX63" fmla="*/ 65314 w 5933552"/>
                <a:gd name="connsiteY63" fmla="*/ 1314371 h 223499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933552" h="2234603">
                  <a:moveTo>
                    <a:pt x="65314" y="1314371"/>
                  </a:moveTo>
                  <a:lnTo>
                    <a:pt x="75363" y="1083259"/>
                  </a:lnTo>
                  <a:lnTo>
                    <a:pt x="45218" y="1073210"/>
                  </a:lnTo>
                  <a:lnTo>
                    <a:pt x="95459" y="887316"/>
                  </a:lnTo>
                  <a:lnTo>
                    <a:pt x="80387" y="771760"/>
                  </a:lnTo>
                  <a:lnTo>
                    <a:pt x="85411" y="716494"/>
                  </a:lnTo>
                  <a:lnTo>
                    <a:pt x="105508" y="696397"/>
                  </a:lnTo>
                  <a:lnTo>
                    <a:pt x="135653" y="676300"/>
                  </a:lnTo>
                  <a:lnTo>
                    <a:pt x="467248" y="329632"/>
                  </a:lnTo>
                  <a:lnTo>
                    <a:pt x="472272" y="284415"/>
                  </a:lnTo>
                  <a:lnTo>
                    <a:pt x="442127" y="259294"/>
                  </a:lnTo>
                  <a:lnTo>
                    <a:pt x="406958" y="229149"/>
                  </a:lnTo>
                  <a:lnTo>
                    <a:pt x="406958" y="204028"/>
                  </a:lnTo>
                  <a:lnTo>
                    <a:pt x="462224" y="193980"/>
                  </a:lnTo>
                  <a:lnTo>
                    <a:pt x="864158" y="143738"/>
                  </a:lnTo>
                  <a:lnTo>
                    <a:pt x="999811" y="88472"/>
                  </a:lnTo>
                  <a:lnTo>
                    <a:pt x="1024932" y="78424"/>
                  </a:lnTo>
                  <a:lnTo>
                    <a:pt x="999811" y="28182"/>
                  </a:lnTo>
                  <a:lnTo>
                    <a:pt x="1070149" y="33206"/>
                  </a:lnTo>
                  <a:lnTo>
                    <a:pt x="1130439" y="53303"/>
                  </a:lnTo>
                  <a:lnTo>
                    <a:pt x="1160585" y="63351"/>
                  </a:lnTo>
                  <a:cubicBezTo>
                    <a:pt x="1252695" y="56652"/>
                    <a:pt x="1492180" y="23157"/>
                    <a:pt x="1683099" y="13109"/>
                  </a:cubicBezTo>
                  <a:cubicBezTo>
                    <a:pt x="1874018" y="3061"/>
                    <a:pt x="2081684" y="-4475"/>
                    <a:pt x="2306097" y="3061"/>
                  </a:cubicBezTo>
                  <a:cubicBezTo>
                    <a:pt x="2530510" y="10597"/>
                    <a:pt x="2891413" y="45767"/>
                    <a:pt x="3029578" y="58327"/>
                  </a:cubicBezTo>
                  <a:cubicBezTo>
                    <a:pt x="3167743" y="70887"/>
                    <a:pt x="3099917" y="71725"/>
                    <a:pt x="3135086" y="78424"/>
                  </a:cubicBezTo>
                  <a:lnTo>
                    <a:pt x="3255666" y="98520"/>
                  </a:lnTo>
                  <a:cubicBezTo>
                    <a:pt x="3323492" y="116105"/>
                    <a:pt x="3456633" y="138713"/>
                    <a:pt x="3542044" y="183931"/>
                  </a:cubicBezTo>
                  <a:lnTo>
                    <a:pt x="3798277" y="319584"/>
                  </a:lnTo>
                  <a:lnTo>
                    <a:pt x="4210259" y="545672"/>
                  </a:lnTo>
                  <a:lnTo>
                    <a:pt x="4340888" y="626059"/>
                  </a:lnTo>
                  <a:lnTo>
                    <a:pt x="4381081" y="656204"/>
                  </a:lnTo>
                  <a:cubicBezTo>
                    <a:pt x="4449745" y="666252"/>
                    <a:pt x="4622241" y="668765"/>
                    <a:pt x="4752870" y="686349"/>
                  </a:cubicBezTo>
                  <a:cubicBezTo>
                    <a:pt x="4883499" y="703933"/>
                    <a:pt x="5072743" y="739939"/>
                    <a:pt x="5164853" y="761711"/>
                  </a:cubicBezTo>
                  <a:lnTo>
                    <a:pt x="5441182" y="827026"/>
                  </a:lnTo>
                  <a:cubicBezTo>
                    <a:pt x="5515707" y="850472"/>
                    <a:pt x="5546690" y="853821"/>
                    <a:pt x="5612004" y="902388"/>
                  </a:cubicBezTo>
                  <a:lnTo>
                    <a:pt x="5807947" y="1048089"/>
                  </a:lnTo>
                  <a:lnTo>
                    <a:pt x="5823020" y="1118428"/>
                  </a:lnTo>
                  <a:lnTo>
                    <a:pt x="5838092" y="1218911"/>
                  </a:lnTo>
                  <a:lnTo>
                    <a:pt x="5823020" y="1249056"/>
                  </a:lnTo>
                  <a:lnTo>
                    <a:pt x="5863213" y="1299298"/>
                  </a:lnTo>
                  <a:lnTo>
                    <a:pt x="5893358" y="1359588"/>
                  </a:lnTo>
                  <a:lnTo>
                    <a:pt x="5893358" y="1434951"/>
                  </a:lnTo>
                  <a:lnTo>
                    <a:pt x="5928527" y="1495241"/>
                  </a:lnTo>
                  <a:lnTo>
                    <a:pt x="5918479" y="1605773"/>
                  </a:lnTo>
                  <a:lnTo>
                    <a:pt x="5898382" y="1686160"/>
                  </a:lnTo>
                  <a:lnTo>
                    <a:pt x="5918479" y="1776595"/>
                  </a:lnTo>
                  <a:lnTo>
                    <a:pt x="5933552" y="1811764"/>
                  </a:lnTo>
                  <a:lnTo>
                    <a:pt x="5812971" y="1872054"/>
                  </a:lnTo>
                  <a:lnTo>
                    <a:pt x="5812971" y="1872054"/>
                  </a:lnTo>
                  <a:lnTo>
                    <a:pt x="5727560" y="1932344"/>
                  </a:lnTo>
                  <a:lnTo>
                    <a:pt x="5390941" y="1937369"/>
                  </a:lnTo>
                  <a:lnTo>
                    <a:pt x="5215670" y="1935977"/>
                  </a:lnTo>
                  <a:cubicBezTo>
                    <a:pt x="5196897" y="2172352"/>
                    <a:pt x="4604352" y="2477916"/>
                    <a:pt x="4373414" y="1917320"/>
                  </a:cubicBezTo>
                  <a:lnTo>
                    <a:pt x="1498817" y="1891925"/>
                  </a:lnTo>
                  <a:cubicBezTo>
                    <a:pt x="1475302" y="2265499"/>
                    <a:pt x="727844" y="2429891"/>
                    <a:pt x="619914" y="1836885"/>
                  </a:cubicBezTo>
                  <a:lnTo>
                    <a:pt x="281354" y="1836885"/>
                  </a:lnTo>
                  <a:lnTo>
                    <a:pt x="130629" y="1761522"/>
                  </a:lnTo>
                  <a:lnTo>
                    <a:pt x="10048" y="1681136"/>
                  </a:lnTo>
                  <a:lnTo>
                    <a:pt x="0" y="1540459"/>
                  </a:lnTo>
                  <a:lnTo>
                    <a:pt x="15072" y="1490217"/>
                  </a:lnTo>
                  <a:lnTo>
                    <a:pt x="15072" y="1434951"/>
                  </a:lnTo>
                  <a:lnTo>
                    <a:pt x="25121" y="1384709"/>
                  </a:lnTo>
                  <a:lnTo>
                    <a:pt x="40193" y="1359588"/>
                  </a:lnTo>
                  <a:lnTo>
                    <a:pt x="65314" y="1314371"/>
                  </a:lnTo>
                  <a:close/>
                </a:path>
              </a:pathLst>
            </a:custGeom>
            <a:grpFill/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1D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Rectangle 4"/>
            <p:cNvSpPr/>
            <p:nvPr/>
          </p:nvSpPr>
          <p:spPr>
            <a:xfrm>
              <a:off x="10223154" y="785072"/>
              <a:ext cx="253178" cy="175827"/>
            </a:xfrm>
            <a:custGeom>
              <a:avLst/>
              <a:gdLst>
                <a:gd name="connsiteX0" fmla="*/ 0 w 309147"/>
                <a:gd name="connsiteY0" fmla="*/ 0 h 310551"/>
                <a:gd name="connsiteX1" fmla="*/ 309147 w 309147"/>
                <a:gd name="connsiteY1" fmla="*/ 0 h 310551"/>
                <a:gd name="connsiteX2" fmla="*/ 309147 w 309147"/>
                <a:gd name="connsiteY2" fmla="*/ 310551 h 310551"/>
                <a:gd name="connsiteX3" fmla="*/ 0 w 309147"/>
                <a:gd name="connsiteY3" fmla="*/ 310551 h 310551"/>
                <a:gd name="connsiteX4" fmla="*/ 0 w 309147"/>
                <a:gd name="connsiteY4" fmla="*/ 0 h 310551"/>
                <a:gd name="connsiteX0" fmla="*/ 0 w 378158"/>
                <a:gd name="connsiteY0" fmla="*/ 0 h 310551"/>
                <a:gd name="connsiteX1" fmla="*/ 378158 w 378158"/>
                <a:gd name="connsiteY1" fmla="*/ 0 h 310551"/>
                <a:gd name="connsiteX2" fmla="*/ 309147 w 378158"/>
                <a:gd name="connsiteY2" fmla="*/ 310551 h 310551"/>
                <a:gd name="connsiteX3" fmla="*/ 0 w 378158"/>
                <a:gd name="connsiteY3" fmla="*/ 310551 h 310551"/>
                <a:gd name="connsiteX4" fmla="*/ 0 w 378158"/>
                <a:gd name="connsiteY4" fmla="*/ 0 h 310551"/>
                <a:gd name="connsiteX0" fmla="*/ 0 w 447169"/>
                <a:gd name="connsiteY0" fmla="*/ 0 h 310551"/>
                <a:gd name="connsiteX1" fmla="*/ 447169 w 447169"/>
                <a:gd name="connsiteY1" fmla="*/ 0 h 310551"/>
                <a:gd name="connsiteX2" fmla="*/ 378158 w 447169"/>
                <a:gd name="connsiteY2" fmla="*/ 310551 h 310551"/>
                <a:gd name="connsiteX3" fmla="*/ 69011 w 447169"/>
                <a:gd name="connsiteY3" fmla="*/ 310551 h 310551"/>
                <a:gd name="connsiteX4" fmla="*/ 0 w 447169"/>
                <a:gd name="connsiteY4" fmla="*/ 0 h 310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169" h="310551">
                  <a:moveTo>
                    <a:pt x="0" y="0"/>
                  </a:moveTo>
                  <a:lnTo>
                    <a:pt x="447169" y="0"/>
                  </a:lnTo>
                  <a:lnTo>
                    <a:pt x="378158" y="310551"/>
                  </a:lnTo>
                  <a:lnTo>
                    <a:pt x="69011" y="31055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4144222" y="3913783"/>
            <a:ext cx="1407874" cy="578708"/>
            <a:chOff x="7839706" y="5087031"/>
            <a:chExt cx="2419186" cy="994409"/>
          </a:xfrm>
          <a:solidFill>
            <a:schemeClr val="accent5">
              <a:lumMod val="75000"/>
            </a:schemeClr>
          </a:solidFill>
        </p:grpSpPr>
        <p:sp>
          <p:nvSpPr>
            <p:cNvPr id="97" name="Rounded Rectangle 96"/>
            <p:cNvSpPr/>
            <p:nvPr/>
          </p:nvSpPr>
          <p:spPr>
            <a:xfrm>
              <a:off x="8466156" y="5087031"/>
              <a:ext cx="1792736" cy="64706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Rounded Rectangle 98"/>
            <p:cNvSpPr/>
            <p:nvPr/>
          </p:nvSpPr>
          <p:spPr>
            <a:xfrm>
              <a:off x="7839706" y="5192750"/>
              <a:ext cx="584322" cy="68197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3D</a:t>
              </a:r>
            </a:p>
          </p:txBody>
        </p:sp>
        <p:sp>
          <p:nvSpPr>
            <p:cNvPr id="100" name="Oval 99"/>
            <p:cNvSpPr/>
            <p:nvPr/>
          </p:nvSpPr>
          <p:spPr>
            <a:xfrm>
              <a:off x="7924592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>
              <a:off x="8592551" y="5885242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Rounded Rectangle 101"/>
            <p:cNvSpPr/>
            <p:nvPr/>
          </p:nvSpPr>
          <p:spPr>
            <a:xfrm>
              <a:off x="7839706" y="5768667"/>
              <a:ext cx="97474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8867542" y="5768666"/>
              <a:ext cx="139135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Oval 103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>
              <a:off x="8394139" y="5886743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6" name="TextBox 105"/>
          <p:cNvSpPr txBox="1"/>
          <p:nvPr/>
        </p:nvSpPr>
        <p:spPr>
          <a:xfrm>
            <a:off x="3766131" y="1818323"/>
            <a:ext cx="22192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category 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„Dual Mode vehicles“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de-DE" sz="1400" b="0" i="1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609699" y="2840308"/>
            <a:ext cx="898436" cy="426533"/>
            <a:chOff x="1396729" y="3970325"/>
            <a:chExt cx="898436" cy="426533"/>
          </a:xfrm>
        </p:grpSpPr>
        <p:grpSp>
          <p:nvGrpSpPr>
            <p:cNvPr id="33" name="Group 32"/>
            <p:cNvGrpSpPr/>
            <p:nvPr/>
          </p:nvGrpSpPr>
          <p:grpSpPr>
            <a:xfrm>
              <a:off x="1396729" y="3970325"/>
              <a:ext cx="898436" cy="345801"/>
              <a:chOff x="1206369" y="2588702"/>
              <a:chExt cx="1854393" cy="71374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4" name="Freeform 33"/>
              <p:cNvSpPr/>
              <p:nvPr/>
            </p:nvSpPr>
            <p:spPr>
              <a:xfrm flipH="1">
                <a:off x="1206369" y="2588702"/>
                <a:ext cx="1854393" cy="713741"/>
              </a:xfrm>
              <a:custGeom>
                <a:avLst/>
                <a:gdLst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12466 w 5933552"/>
                  <a:gd name="connsiteY72" fmla="*/ 1627833 h 1934308"/>
                  <a:gd name="connsiteX73" fmla="*/ 497393 w 5933552"/>
                  <a:gd name="connsiteY73" fmla="*/ 1753437 h 1934308"/>
                  <a:gd name="connsiteX74" fmla="*/ 507442 w 5933552"/>
                  <a:gd name="connsiteY74" fmla="*/ 1833824 h 1934308"/>
                  <a:gd name="connsiteX75" fmla="*/ 281354 w 5933552"/>
                  <a:gd name="connsiteY75" fmla="*/ 1833824 h 1934308"/>
                  <a:gd name="connsiteX76" fmla="*/ 130629 w 5933552"/>
                  <a:gd name="connsiteY76" fmla="*/ 1758461 h 1934308"/>
                  <a:gd name="connsiteX77" fmla="*/ 10048 w 5933552"/>
                  <a:gd name="connsiteY77" fmla="*/ 1678075 h 1934308"/>
                  <a:gd name="connsiteX78" fmla="*/ 0 w 5933552"/>
                  <a:gd name="connsiteY78" fmla="*/ 1537398 h 1934308"/>
                  <a:gd name="connsiteX79" fmla="*/ 15072 w 5933552"/>
                  <a:gd name="connsiteY79" fmla="*/ 1487156 h 1934308"/>
                  <a:gd name="connsiteX80" fmla="*/ 15072 w 5933552"/>
                  <a:gd name="connsiteY80" fmla="*/ 1431890 h 1934308"/>
                  <a:gd name="connsiteX81" fmla="*/ 25121 w 5933552"/>
                  <a:gd name="connsiteY81" fmla="*/ 1381648 h 1934308"/>
                  <a:gd name="connsiteX82" fmla="*/ 40193 w 5933552"/>
                  <a:gd name="connsiteY82" fmla="*/ 1356527 h 1934308"/>
                  <a:gd name="connsiteX83" fmla="*/ 65314 w 5933552"/>
                  <a:gd name="connsiteY8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512466 w 5933552"/>
                  <a:gd name="connsiteY71" fmla="*/ 1627833 h 1934308"/>
                  <a:gd name="connsiteX72" fmla="*/ 497393 w 5933552"/>
                  <a:gd name="connsiteY72" fmla="*/ 1753437 h 1934308"/>
                  <a:gd name="connsiteX73" fmla="*/ 507442 w 5933552"/>
                  <a:gd name="connsiteY73" fmla="*/ 1833824 h 1934308"/>
                  <a:gd name="connsiteX74" fmla="*/ 281354 w 5933552"/>
                  <a:gd name="connsiteY74" fmla="*/ 1833824 h 1934308"/>
                  <a:gd name="connsiteX75" fmla="*/ 130629 w 5933552"/>
                  <a:gd name="connsiteY75" fmla="*/ 1758461 h 1934308"/>
                  <a:gd name="connsiteX76" fmla="*/ 10048 w 5933552"/>
                  <a:gd name="connsiteY76" fmla="*/ 1678075 h 1934308"/>
                  <a:gd name="connsiteX77" fmla="*/ 0 w 5933552"/>
                  <a:gd name="connsiteY77" fmla="*/ 1537398 h 1934308"/>
                  <a:gd name="connsiteX78" fmla="*/ 15072 w 5933552"/>
                  <a:gd name="connsiteY78" fmla="*/ 1487156 h 1934308"/>
                  <a:gd name="connsiteX79" fmla="*/ 15072 w 5933552"/>
                  <a:gd name="connsiteY79" fmla="*/ 1431890 h 1934308"/>
                  <a:gd name="connsiteX80" fmla="*/ 25121 w 5933552"/>
                  <a:gd name="connsiteY80" fmla="*/ 1381648 h 1934308"/>
                  <a:gd name="connsiteX81" fmla="*/ 40193 w 5933552"/>
                  <a:gd name="connsiteY81" fmla="*/ 1356527 h 1934308"/>
                  <a:gd name="connsiteX82" fmla="*/ 65314 w 5933552"/>
                  <a:gd name="connsiteY82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497393 w 5933552"/>
                  <a:gd name="connsiteY71" fmla="*/ 1753437 h 1934308"/>
                  <a:gd name="connsiteX72" fmla="*/ 507442 w 5933552"/>
                  <a:gd name="connsiteY72" fmla="*/ 1833824 h 1934308"/>
                  <a:gd name="connsiteX73" fmla="*/ 281354 w 5933552"/>
                  <a:gd name="connsiteY73" fmla="*/ 1833824 h 1934308"/>
                  <a:gd name="connsiteX74" fmla="*/ 130629 w 5933552"/>
                  <a:gd name="connsiteY74" fmla="*/ 1758461 h 1934308"/>
                  <a:gd name="connsiteX75" fmla="*/ 10048 w 5933552"/>
                  <a:gd name="connsiteY75" fmla="*/ 1678075 h 1934308"/>
                  <a:gd name="connsiteX76" fmla="*/ 0 w 5933552"/>
                  <a:gd name="connsiteY76" fmla="*/ 1537398 h 1934308"/>
                  <a:gd name="connsiteX77" fmla="*/ 15072 w 5933552"/>
                  <a:gd name="connsiteY77" fmla="*/ 1487156 h 1934308"/>
                  <a:gd name="connsiteX78" fmla="*/ 15072 w 5933552"/>
                  <a:gd name="connsiteY78" fmla="*/ 1431890 h 1934308"/>
                  <a:gd name="connsiteX79" fmla="*/ 25121 w 5933552"/>
                  <a:gd name="connsiteY79" fmla="*/ 1381648 h 1934308"/>
                  <a:gd name="connsiteX80" fmla="*/ 40193 w 5933552"/>
                  <a:gd name="connsiteY80" fmla="*/ 1356527 h 1934308"/>
                  <a:gd name="connsiteX81" fmla="*/ 65314 w 5933552"/>
                  <a:gd name="connsiteY81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507442 w 5933552"/>
                  <a:gd name="connsiteY71" fmla="*/ 1833824 h 1934308"/>
                  <a:gd name="connsiteX72" fmla="*/ 281354 w 5933552"/>
                  <a:gd name="connsiteY72" fmla="*/ 1833824 h 1934308"/>
                  <a:gd name="connsiteX73" fmla="*/ 130629 w 5933552"/>
                  <a:gd name="connsiteY73" fmla="*/ 1758461 h 1934308"/>
                  <a:gd name="connsiteX74" fmla="*/ 10048 w 5933552"/>
                  <a:gd name="connsiteY74" fmla="*/ 1678075 h 1934308"/>
                  <a:gd name="connsiteX75" fmla="*/ 0 w 5933552"/>
                  <a:gd name="connsiteY75" fmla="*/ 1537398 h 1934308"/>
                  <a:gd name="connsiteX76" fmla="*/ 15072 w 5933552"/>
                  <a:gd name="connsiteY76" fmla="*/ 1487156 h 1934308"/>
                  <a:gd name="connsiteX77" fmla="*/ 15072 w 5933552"/>
                  <a:gd name="connsiteY77" fmla="*/ 1431890 h 1934308"/>
                  <a:gd name="connsiteX78" fmla="*/ 25121 w 5933552"/>
                  <a:gd name="connsiteY78" fmla="*/ 1381648 h 1934308"/>
                  <a:gd name="connsiteX79" fmla="*/ 40193 w 5933552"/>
                  <a:gd name="connsiteY79" fmla="*/ 1356527 h 1934308"/>
                  <a:gd name="connsiteX80" fmla="*/ 65314 w 5933552"/>
                  <a:gd name="connsiteY80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507442 w 5933552"/>
                  <a:gd name="connsiteY70" fmla="*/ 1833824 h 1934308"/>
                  <a:gd name="connsiteX71" fmla="*/ 281354 w 5933552"/>
                  <a:gd name="connsiteY71" fmla="*/ 1833824 h 1934308"/>
                  <a:gd name="connsiteX72" fmla="*/ 130629 w 5933552"/>
                  <a:gd name="connsiteY72" fmla="*/ 1758461 h 1934308"/>
                  <a:gd name="connsiteX73" fmla="*/ 10048 w 5933552"/>
                  <a:gd name="connsiteY73" fmla="*/ 1678075 h 1934308"/>
                  <a:gd name="connsiteX74" fmla="*/ 0 w 5933552"/>
                  <a:gd name="connsiteY74" fmla="*/ 1537398 h 1934308"/>
                  <a:gd name="connsiteX75" fmla="*/ 15072 w 5933552"/>
                  <a:gd name="connsiteY75" fmla="*/ 1487156 h 1934308"/>
                  <a:gd name="connsiteX76" fmla="*/ 15072 w 5933552"/>
                  <a:gd name="connsiteY76" fmla="*/ 1431890 h 1934308"/>
                  <a:gd name="connsiteX77" fmla="*/ 25121 w 5933552"/>
                  <a:gd name="connsiteY77" fmla="*/ 1381648 h 1934308"/>
                  <a:gd name="connsiteX78" fmla="*/ 40193 w 5933552"/>
                  <a:gd name="connsiteY78" fmla="*/ 1356527 h 1934308"/>
                  <a:gd name="connsiteX79" fmla="*/ 65314 w 5933552"/>
                  <a:gd name="connsiteY79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507442 w 5933552"/>
                  <a:gd name="connsiteY69" fmla="*/ 1833824 h 1934308"/>
                  <a:gd name="connsiteX70" fmla="*/ 281354 w 5933552"/>
                  <a:gd name="connsiteY70" fmla="*/ 1833824 h 1934308"/>
                  <a:gd name="connsiteX71" fmla="*/ 130629 w 5933552"/>
                  <a:gd name="connsiteY71" fmla="*/ 1758461 h 1934308"/>
                  <a:gd name="connsiteX72" fmla="*/ 10048 w 5933552"/>
                  <a:gd name="connsiteY72" fmla="*/ 1678075 h 1934308"/>
                  <a:gd name="connsiteX73" fmla="*/ 0 w 5933552"/>
                  <a:gd name="connsiteY73" fmla="*/ 1537398 h 1934308"/>
                  <a:gd name="connsiteX74" fmla="*/ 15072 w 5933552"/>
                  <a:gd name="connsiteY74" fmla="*/ 1487156 h 1934308"/>
                  <a:gd name="connsiteX75" fmla="*/ 15072 w 5933552"/>
                  <a:gd name="connsiteY75" fmla="*/ 1431890 h 1934308"/>
                  <a:gd name="connsiteX76" fmla="*/ 25121 w 5933552"/>
                  <a:gd name="connsiteY76" fmla="*/ 1381648 h 1934308"/>
                  <a:gd name="connsiteX77" fmla="*/ 40193 w 5933552"/>
                  <a:gd name="connsiteY77" fmla="*/ 1356527 h 1934308"/>
                  <a:gd name="connsiteX78" fmla="*/ 65314 w 5933552"/>
                  <a:gd name="connsiteY78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507442 w 5933552"/>
                  <a:gd name="connsiteY68" fmla="*/ 1833824 h 1934308"/>
                  <a:gd name="connsiteX69" fmla="*/ 281354 w 5933552"/>
                  <a:gd name="connsiteY69" fmla="*/ 1833824 h 1934308"/>
                  <a:gd name="connsiteX70" fmla="*/ 130629 w 5933552"/>
                  <a:gd name="connsiteY70" fmla="*/ 1758461 h 1934308"/>
                  <a:gd name="connsiteX71" fmla="*/ 10048 w 5933552"/>
                  <a:gd name="connsiteY71" fmla="*/ 1678075 h 1934308"/>
                  <a:gd name="connsiteX72" fmla="*/ 0 w 5933552"/>
                  <a:gd name="connsiteY72" fmla="*/ 1537398 h 1934308"/>
                  <a:gd name="connsiteX73" fmla="*/ 15072 w 5933552"/>
                  <a:gd name="connsiteY73" fmla="*/ 1487156 h 1934308"/>
                  <a:gd name="connsiteX74" fmla="*/ 15072 w 5933552"/>
                  <a:gd name="connsiteY74" fmla="*/ 1431890 h 1934308"/>
                  <a:gd name="connsiteX75" fmla="*/ 25121 w 5933552"/>
                  <a:gd name="connsiteY75" fmla="*/ 1381648 h 1934308"/>
                  <a:gd name="connsiteX76" fmla="*/ 40193 w 5933552"/>
                  <a:gd name="connsiteY76" fmla="*/ 1356527 h 1934308"/>
                  <a:gd name="connsiteX77" fmla="*/ 65314 w 5933552"/>
                  <a:gd name="connsiteY77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562519 w 5933552"/>
                  <a:gd name="connsiteY66" fmla="*/ 1462035 h 1934308"/>
                  <a:gd name="connsiteX67" fmla="*/ 507442 w 5933552"/>
                  <a:gd name="connsiteY67" fmla="*/ 1833824 h 1934308"/>
                  <a:gd name="connsiteX68" fmla="*/ 281354 w 5933552"/>
                  <a:gd name="connsiteY68" fmla="*/ 1833824 h 1934308"/>
                  <a:gd name="connsiteX69" fmla="*/ 130629 w 5933552"/>
                  <a:gd name="connsiteY69" fmla="*/ 1758461 h 1934308"/>
                  <a:gd name="connsiteX70" fmla="*/ 10048 w 5933552"/>
                  <a:gd name="connsiteY70" fmla="*/ 1678075 h 1934308"/>
                  <a:gd name="connsiteX71" fmla="*/ 0 w 5933552"/>
                  <a:gd name="connsiteY71" fmla="*/ 1537398 h 1934308"/>
                  <a:gd name="connsiteX72" fmla="*/ 15072 w 5933552"/>
                  <a:gd name="connsiteY72" fmla="*/ 1487156 h 1934308"/>
                  <a:gd name="connsiteX73" fmla="*/ 15072 w 5933552"/>
                  <a:gd name="connsiteY73" fmla="*/ 1431890 h 1934308"/>
                  <a:gd name="connsiteX74" fmla="*/ 25121 w 5933552"/>
                  <a:gd name="connsiteY74" fmla="*/ 1381648 h 1934308"/>
                  <a:gd name="connsiteX75" fmla="*/ 40193 w 5933552"/>
                  <a:gd name="connsiteY75" fmla="*/ 1356527 h 1934308"/>
                  <a:gd name="connsiteX76" fmla="*/ 65314 w 5933552"/>
                  <a:gd name="connsiteY76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562519 w 5933552"/>
                  <a:gd name="connsiteY65" fmla="*/ 1462035 h 1934308"/>
                  <a:gd name="connsiteX66" fmla="*/ 507442 w 5933552"/>
                  <a:gd name="connsiteY66" fmla="*/ 1833824 h 1934308"/>
                  <a:gd name="connsiteX67" fmla="*/ 281354 w 5933552"/>
                  <a:gd name="connsiteY67" fmla="*/ 1833824 h 1934308"/>
                  <a:gd name="connsiteX68" fmla="*/ 130629 w 5933552"/>
                  <a:gd name="connsiteY68" fmla="*/ 1758461 h 1934308"/>
                  <a:gd name="connsiteX69" fmla="*/ 10048 w 5933552"/>
                  <a:gd name="connsiteY69" fmla="*/ 1678075 h 1934308"/>
                  <a:gd name="connsiteX70" fmla="*/ 0 w 5933552"/>
                  <a:gd name="connsiteY70" fmla="*/ 1537398 h 1934308"/>
                  <a:gd name="connsiteX71" fmla="*/ 15072 w 5933552"/>
                  <a:gd name="connsiteY71" fmla="*/ 1487156 h 1934308"/>
                  <a:gd name="connsiteX72" fmla="*/ 15072 w 5933552"/>
                  <a:gd name="connsiteY72" fmla="*/ 1431890 h 1934308"/>
                  <a:gd name="connsiteX73" fmla="*/ 25121 w 5933552"/>
                  <a:gd name="connsiteY73" fmla="*/ 1381648 h 1934308"/>
                  <a:gd name="connsiteX74" fmla="*/ 40193 w 5933552"/>
                  <a:gd name="connsiteY74" fmla="*/ 1356527 h 1934308"/>
                  <a:gd name="connsiteX75" fmla="*/ 65314 w 5933552"/>
                  <a:gd name="connsiteY75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35380 w 5933552"/>
                  <a:gd name="connsiteY62" fmla="*/ 1919235 h 1934308"/>
                  <a:gd name="connsiteX63" fmla="*/ 1688123 w 5933552"/>
                  <a:gd name="connsiteY63" fmla="*/ 1899138 h 1934308"/>
                  <a:gd name="connsiteX64" fmla="*/ 507442 w 5933552"/>
                  <a:gd name="connsiteY64" fmla="*/ 1833824 h 1934308"/>
                  <a:gd name="connsiteX65" fmla="*/ 281354 w 5933552"/>
                  <a:gd name="connsiteY65" fmla="*/ 1833824 h 1934308"/>
                  <a:gd name="connsiteX66" fmla="*/ 130629 w 5933552"/>
                  <a:gd name="connsiteY66" fmla="*/ 1758461 h 1934308"/>
                  <a:gd name="connsiteX67" fmla="*/ 10048 w 5933552"/>
                  <a:gd name="connsiteY67" fmla="*/ 1678075 h 1934308"/>
                  <a:gd name="connsiteX68" fmla="*/ 0 w 5933552"/>
                  <a:gd name="connsiteY68" fmla="*/ 1537398 h 1934308"/>
                  <a:gd name="connsiteX69" fmla="*/ 15072 w 5933552"/>
                  <a:gd name="connsiteY69" fmla="*/ 1487156 h 1934308"/>
                  <a:gd name="connsiteX70" fmla="*/ 15072 w 5933552"/>
                  <a:gd name="connsiteY70" fmla="*/ 1431890 h 1934308"/>
                  <a:gd name="connsiteX71" fmla="*/ 25121 w 5933552"/>
                  <a:gd name="connsiteY71" fmla="*/ 1381648 h 1934308"/>
                  <a:gd name="connsiteX72" fmla="*/ 40193 w 5933552"/>
                  <a:gd name="connsiteY72" fmla="*/ 1356527 h 1934308"/>
                  <a:gd name="connsiteX73" fmla="*/ 65314 w 5933552"/>
                  <a:gd name="connsiteY7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919235 h 1934308"/>
                  <a:gd name="connsiteX62" fmla="*/ 1688123 w 5933552"/>
                  <a:gd name="connsiteY62" fmla="*/ 1899138 h 1934308"/>
                  <a:gd name="connsiteX63" fmla="*/ 507442 w 5933552"/>
                  <a:gd name="connsiteY63" fmla="*/ 1833824 h 1934308"/>
                  <a:gd name="connsiteX64" fmla="*/ 281354 w 5933552"/>
                  <a:gd name="connsiteY64" fmla="*/ 1833824 h 1934308"/>
                  <a:gd name="connsiteX65" fmla="*/ 130629 w 5933552"/>
                  <a:gd name="connsiteY65" fmla="*/ 1758461 h 1934308"/>
                  <a:gd name="connsiteX66" fmla="*/ 10048 w 5933552"/>
                  <a:gd name="connsiteY66" fmla="*/ 1678075 h 1934308"/>
                  <a:gd name="connsiteX67" fmla="*/ 0 w 5933552"/>
                  <a:gd name="connsiteY67" fmla="*/ 1537398 h 1934308"/>
                  <a:gd name="connsiteX68" fmla="*/ 15072 w 5933552"/>
                  <a:gd name="connsiteY68" fmla="*/ 1487156 h 1934308"/>
                  <a:gd name="connsiteX69" fmla="*/ 15072 w 5933552"/>
                  <a:gd name="connsiteY69" fmla="*/ 1431890 h 1934308"/>
                  <a:gd name="connsiteX70" fmla="*/ 25121 w 5933552"/>
                  <a:gd name="connsiteY70" fmla="*/ 1381648 h 1934308"/>
                  <a:gd name="connsiteX71" fmla="*/ 40193 w 5933552"/>
                  <a:gd name="connsiteY71" fmla="*/ 1356527 h 1934308"/>
                  <a:gd name="connsiteX72" fmla="*/ 65314 w 5933552"/>
                  <a:gd name="connsiteY72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35380 w 5933552"/>
                  <a:gd name="connsiteY60" fmla="*/ 1919235 h 1934308"/>
                  <a:gd name="connsiteX61" fmla="*/ 1688123 w 5933552"/>
                  <a:gd name="connsiteY61" fmla="*/ 1899138 h 1934308"/>
                  <a:gd name="connsiteX62" fmla="*/ 507442 w 5933552"/>
                  <a:gd name="connsiteY62" fmla="*/ 1833824 h 1934308"/>
                  <a:gd name="connsiteX63" fmla="*/ 281354 w 5933552"/>
                  <a:gd name="connsiteY63" fmla="*/ 1833824 h 1934308"/>
                  <a:gd name="connsiteX64" fmla="*/ 130629 w 5933552"/>
                  <a:gd name="connsiteY64" fmla="*/ 1758461 h 1934308"/>
                  <a:gd name="connsiteX65" fmla="*/ 10048 w 5933552"/>
                  <a:gd name="connsiteY65" fmla="*/ 1678075 h 1934308"/>
                  <a:gd name="connsiteX66" fmla="*/ 0 w 5933552"/>
                  <a:gd name="connsiteY66" fmla="*/ 1537398 h 1934308"/>
                  <a:gd name="connsiteX67" fmla="*/ 15072 w 5933552"/>
                  <a:gd name="connsiteY67" fmla="*/ 1487156 h 1934308"/>
                  <a:gd name="connsiteX68" fmla="*/ 15072 w 5933552"/>
                  <a:gd name="connsiteY68" fmla="*/ 1431890 h 1934308"/>
                  <a:gd name="connsiteX69" fmla="*/ 25121 w 5933552"/>
                  <a:gd name="connsiteY69" fmla="*/ 1381648 h 1934308"/>
                  <a:gd name="connsiteX70" fmla="*/ 40193 w 5933552"/>
                  <a:gd name="connsiteY70" fmla="*/ 1356527 h 1934308"/>
                  <a:gd name="connsiteX71" fmla="*/ 65314 w 5933552"/>
                  <a:gd name="connsiteY71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235380 w 5933552"/>
                  <a:gd name="connsiteY59" fmla="*/ 1919235 h 1934308"/>
                  <a:gd name="connsiteX60" fmla="*/ 1688123 w 5933552"/>
                  <a:gd name="connsiteY60" fmla="*/ 1899138 h 1934308"/>
                  <a:gd name="connsiteX61" fmla="*/ 507442 w 5933552"/>
                  <a:gd name="connsiteY61" fmla="*/ 1833824 h 1934308"/>
                  <a:gd name="connsiteX62" fmla="*/ 281354 w 5933552"/>
                  <a:gd name="connsiteY62" fmla="*/ 1833824 h 1934308"/>
                  <a:gd name="connsiteX63" fmla="*/ 130629 w 5933552"/>
                  <a:gd name="connsiteY63" fmla="*/ 1758461 h 1934308"/>
                  <a:gd name="connsiteX64" fmla="*/ 10048 w 5933552"/>
                  <a:gd name="connsiteY64" fmla="*/ 1678075 h 1934308"/>
                  <a:gd name="connsiteX65" fmla="*/ 0 w 5933552"/>
                  <a:gd name="connsiteY65" fmla="*/ 1537398 h 1934308"/>
                  <a:gd name="connsiteX66" fmla="*/ 15072 w 5933552"/>
                  <a:gd name="connsiteY66" fmla="*/ 1487156 h 1934308"/>
                  <a:gd name="connsiteX67" fmla="*/ 15072 w 5933552"/>
                  <a:gd name="connsiteY67" fmla="*/ 1431890 h 1934308"/>
                  <a:gd name="connsiteX68" fmla="*/ 25121 w 5933552"/>
                  <a:gd name="connsiteY68" fmla="*/ 1381648 h 1934308"/>
                  <a:gd name="connsiteX69" fmla="*/ 40193 w 5933552"/>
                  <a:gd name="connsiteY69" fmla="*/ 1356527 h 1934308"/>
                  <a:gd name="connsiteX70" fmla="*/ 65314 w 5933552"/>
                  <a:gd name="connsiteY70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235380 w 5933552"/>
                  <a:gd name="connsiteY58" fmla="*/ 1919235 h 1934308"/>
                  <a:gd name="connsiteX59" fmla="*/ 1688123 w 5933552"/>
                  <a:gd name="connsiteY59" fmla="*/ 1899138 h 1934308"/>
                  <a:gd name="connsiteX60" fmla="*/ 507442 w 5933552"/>
                  <a:gd name="connsiteY60" fmla="*/ 1833824 h 1934308"/>
                  <a:gd name="connsiteX61" fmla="*/ 281354 w 5933552"/>
                  <a:gd name="connsiteY61" fmla="*/ 1833824 h 1934308"/>
                  <a:gd name="connsiteX62" fmla="*/ 130629 w 5933552"/>
                  <a:gd name="connsiteY62" fmla="*/ 1758461 h 1934308"/>
                  <a:gd name="connsiteX63" fmla="*/ 10048 w 5933552"/>
                  <a:gd name="connsiteY63" fmla="*/ 1678075 h 1934308"/>
                  <a:gd name="connsiteX64" fmla="*/ 0 w 5933552"/>
                  <a:gd name="connsiteY64" fmla="*/ 1537398 h 1934308"/>
                  <a:gd name="connsiteX65" fmla="*/ 15072 w 5933552"/>
                  <a:gd name="connsiteY65" fmla="*/ 1487156 h 1934308"/>
                  <a:gd name="connsiteX66" fmla="*/ 15072 w 5933552"/>
                  <a:gd name="connsiteY66" fmla="*/ 1431890 h 1934308"/>
                  <a:gd name="connsiteX67" fmla="*/ 25121 w 5933552"/>
                  <a:gd name="connsiteY67" fmla="*/ 1381648 h 1934308"/>
                  <a:gd name="connsiteX68" fmla="*/ 40193 w 5933552"/>
                  <a:gd name="connsiteY68" fmla="*/ 1356527 h 1934308"/>
                  <a:gd name="connsiteX69" fmla="*/ 65314 w 5933552"/>
                  <a:gd name="connsiteY69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235380 w 5933552"/>
                  <a:gd name="connsiteY57" fmla="*/ 1919235 h 1934308"/>
                  <a:gd name="connsiteX58" fmla="*/ 1688123 w 5933552"/>
                  <a:gd name="connsiteY58" fmla="*/ 1899138 h 1934308"/>
                  <a:gd name="connsiteX59" fmla="*/ 507442 w 5933552"/>
                  <a:gd name="connsiteY59" fmla="*/ 1833824 h 1934308"/>
                  <a:gd name="connsiteX60" fmla="*/ 281354 w 5933552"/>
                  <a:gd name="connsiteY60" fmla="*/ 1833824 h 1934308"/>
                  <a:gd name="connsiteX61" fmla="*/ 130629 w 5933552"/>
                  <a:gd name="connsiteY61" fmla="*/ 1758461 h 1934308"/>
                  <a:gd name="connsiteX62" fmla="*/ 10048 w 5933552"/>
                  <a:gd name="connsiteY62" fmla="*/ 1678075 h 1934308"/>
                  <a:gd name="connsiteX63" fmla="*/ 0 w 5933552"/>
                  <a:gd name="connsiteY63" fmla="*/ 1537398 h 1934308"/>
                  <a:gd name="connsiteX64" fmla="*/ 15072 w 5933552"/>
                  <a:gd name="connsiteY64" fmla="*/ 1487156 h 1934308"/>
                  <a:gd name="connsiteX65" fmla="*/ 15072 w 5933552"/>
                  <a:gd name="connsiteY65" fmla="*/ 1431890 h 1934308"/>
                  <a:gd name="connsiteX66" fmla="*/ 25121 w 5933552"/>
                  <a:gd name="connsiteY66" fmla="*/ 1381648 h 1934308"/>
                  <a:gd name="connsiteX67" fmla="*/ 40193 w 5933552"/>
                  <a:gd name="connsiteY67" fmla="*/ 1356527 h 1934308"/>
                  <a:gd name="connsiteX68" fmla="*/ 65314 w 5933552"/>
                  <a:gd name="connsiteY68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235380 w 5933552"/>
                  <a:gd name="connsiteY56" fmla="*/ 1919235 h 1934308"/>
                  <a:gd name="connsiteX57" fmla="*/ 1688123 w 5933552"/>
                  <a:gd name="connsiteY57" fmla="*/ 1899138 h 1934308"/>
                  <a:gd name="connsiteX58" fmla="*/ 507442 w 5933552"/>
                  <a:gd name="connsiteY58" fmla="*/ 1833824 h 1934308"/>
                  <a:gd name="connsiteX59" fmla="*/ 281354 w 5933552"/>
                  <a:gd name="connsiteY59" fmla="*/ 1833824 h 1934308"/>
                  <a:gd name="connsiteX60" fmla="*/ 130629 w 5933552"/>
                  <a:gd name="connsiteY60" fmla="*/ 1758461 h 1934308"/>
                  <a:gd name="connsiteX61" fmla="*/ 10048 w 5933552"/>
                  <a:gd name="connsiteY61" fmla="*/ 1678075 h 1934308"/>
                  <a:gd name="connsiteX62" fmla="*/ 0 w 5933552"/>
                  <a:gd name="connsiteY62" fmla="*/ 1537398 h 1934308"/>
                  <a:gd name="connsiteX63" fmla="*/ 15072 w 5933552"/>
                  <a:gd name="connsiteY63" fmla="*/ 1487156 h 1934308"/>
                  <a:gd name="connsiteX64" fmla="*/ 15072 w 5933552"/>
                  <a:gd name="connsiteY64" fmla="*/ 1431890 h 1934308"/>
                  <a:gd name="connsiteX65" fmla="*/ 25121 w 5933552"/>
                  <a:gd name="connsiteY65" fmla="*/ 1381648 h 1934308"/>
                  <a:gd name="connsiteX66" fmla="*/ 40193 w 5933552"/>
                  <a:gd name="connsiteY66" fmla="*/ 1356527 h 1934308"/>
                  <a:gd name="connsiteX67" fmla="*/ 65314 w 5933552"/>
                  <a:gd name="connsiteY67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235380 w 5933552"/>
                  <a:gd name="connsiteY55" fmla="*/ 1919235 h 1934308"/>
                  <a:gd name="connsiteX56" fmla="*/ 1688123 w 5933552"/>
                  <a:gd name="connsiteY56" fmla="*/ 1899138 h 1934308"/>
                  <a:gd name="connsiteX57" fmla="*/ 507442 w 5933552"/>
                  <a:gd name="connsiteY57" fmla="*/ 1833824 h 1934308"/>
                  <a:gd name="connsiteX58" fmla="*/ 281354 w 5933552"/>
                  <a:gd name="connsiteY58" fmla="*/ 1833824 h 1934308"/>
                  <a:gd name="connsiteX59" fmla="*/ 130629 w 5933552"/>
                  <a:gd name="connsiteY59" fmla="*/ 1758461 h 1934308"/>
                  <a:gd name="connsiteX60" fmla="*/ 10048 w 5933552"/>
                  <a:gd name="connsiteY60" fmla="*/ 1678075 h 1934308"/>
                  <a:gd name="connsiteX61" fmla="*/ 0 w 5933552"/>
                  <a:gd name="connsiteY61" fmla="*/ 1537398 h 1934308"/>
                  <a:gd name="connsiteX62" fmla="*/ 15072 w 5933552"/>
                  <a:gd name="connsiteY62" fmla="*/ 1487156 h 1934308"/>
                  <a:gd name="connsiteX63" fmla="*/ 15072 w 5933552"/>
                  <a:gd name="connsiteY63" fmla="*/ 1431890 h 1934308"/>
                  <a:gd name="connsiteX64" fmla="*/ 25121 w 5933552"/>
                  <a:gd name="connsiteY64" fmla="*/ 1381648 h 1934308"/>
                  <a:gd name="connsiteX65" fmla="*/ 40193 w 5933552"/>
                  <a:gd name="connsiteY65" fmla="*/ 1356527 h 1934308"/>
                  <a:gd name="connsiteX66" fmla="*/ 65314 w 5933552"/>
                  <a:gd name="connsiteY66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4235380 w 5933552"/>
                  <a:gd name="connsiteY54" fmla="*/ 1919235 h 1934308"/>
                  <a:gd name="connsiteX55" fmla="*/ 1688123 w 5933552"/>
                  <a:gd name="connsiteY55" fmla="*/ 1899138 h 1934308"/>
                  <a:gd name="connsiteX56" fmla="*/ 507442 w 5933552"/>
                  <a:gd name="connsiteY56" fmla="*/ 1833824 h 1934308"/>
                  <a:gd name="connsiteX57" fmla="*/ 281354 w 5933552"/>
                  <a:gd name="connsiteY57" fmla="*/ 1833824 h 1934308"/>
                  <a:gd name="connsiteX58" fmla="*/ 130629 w 5933552"/>
                  <a:gd name="connsiteY58" fmla="*/ 1758461 h 1934308"/>
                  <a:gd name="connsiteX59" fmla="*/ 10048 w 5933552"/>
                  <a:gd name="connsiteY59" fmla="*/ 1678075 h 1934308"/>
                  <a:gd name="connsiteX60" fmla="*/ 0 w 5933552"/>
                  <a:gd name="connsiteY60" fmla="*/ 1537398 h 1934308"/>
                  <a:gd name="connsiteX61" fmla="*/ 15072 w 5933552"/>
                  <a:gd name="connsiteY61" fmla="*/ 1487156 h 1934308"/>
                  <a:gd name="connsiteX62" fmla="*/ 15072 w 5933552"/>
                  <a:gd name="connsiteY62" fmla="*/ 1431890 h 1934308"/>
                  <a:gd name="connsiteX63" fmla="*/ 25121 w 5933552"/>
                  <a:gd name="connsiteY63" fmla="*/ 1381648 h 1934308"/>
                  <a:gd name="connsiteX64" fmla="*/ 40193 w 5933552"/>
                  <a:gd name="connsiteY64" fmla="*/ 1356527 h 1934308"/>
                  <a:gd name="connsiteX65" fmla="*/ 65314 w 5933552"/>
                  <a:gd name="connsiteY65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4235380 w 5933552"/>
                  <a:gd name="connsiteY53" fmla="*/ 1919235 h 1934308"/>
                  <a:gd name="connsiteX54" fmla="*/ 1688123 w 5933552"/>
                  <a:gd name="connsiteY54" fmla="*/ 1899138 h 1934308"/>
                  <a:gd name="connsiteX55" fmla="*/ 507442 w 5933552"/>
                  <a:gd name="connsiteY55" fmla="*/ 1833824 h 1934308"/>
                  <a:gd name="connsiteX56" fmla="*/ 281354 w 5933552"/>
                  <a:gd name="connsiteY56" fmla="*/ 1833824 h 1934308"/>
                  <a:gd name="connsiteX57" fmla="*/ 130629 w 5933552"/>
                  <a:gd name="connsiteY57" fmla="*/ 1758461 h 1934308"/>
                  <a:gd name="connsiteX58" fmla="*/ 10048 w 5933552"/>
                  <a:gd name="connsiteY58" fmla="*/ 1678075 h 1934308"/>
                  <a:gd name="connsiteX59" fmla="*/ 0 w 5933552"/>
                  <a:gd name="connsiteY59" fmla="*/ 1537398 h 1934308"/>
                  <a:gd name="connsiteX60" fmla="*/ 15072 w 5933552"/>
                  <a:gd name="connsiteY60" fmla="*/ 1487156 h 1934308"/>
                  <a:gd name="connsiteX61" fmla="*/ 15072 w 5933552"/>
                  <a:gd name="connsiteY61" fmla="*/ 1431890 h 1934308"/>
                  <a:gd name="connsiteX62" fmla="*/ 25121 w 5933552"/>
                  <a:gd name="connsiteY62" fmla="*/ 1381648 h 1934308"/>
                  <a:gd name="connsiteX63" fmla="*/ 40193 w 5933552"/>
                  <a:gd name="connsiteY63" fmla="*/ 1356527 h 1934308"/>
                  <a:gd name="connsiteX64" fmla="*/ 65314 w 5933552"/>
                  <a:gd name="connsiteY6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3029578 w 5933552"/>
                  <a:gd name="connsiteY23" fmla="*/ 55266 h 1934308"/>
                  <a:gd name="connsiteX24" fmla="*/ 3135086 w 5933552"/>
                  <a:gd name="connsiteY24" fmla="*/ 75363 h 1934308"/>
                  <a:gd name="connsiteX25" fmla="*/ 3255666 w 5933552"/>
                  <a:gd name="connsiteY25" fmla="*/ 95459 h 1934308"/>
                  <a:gd name="connsiteX26" fmla="*/ 3542044 w 5933552"/>
                  <a:gd name="connsiteY26" fmla="*/ 180870 h 1934308"/>
                  <a:gd name="connsiteX27" fmla="*/ 3798277 w 5933552"/>
                  <a:gd name="connsiteY27" fmla="*/ 316523 h 1934308"/>
                  <a:gd name="connsiteX28" fmla="*/ 4210259 w 5933552"/>
                  <a:gd name="connsiteY28" fmla="*/ 542611 h 1934308"/>
                  <a:gd name="connsiteX29" fmla="*/ 4340888 w 5933552"/>
                  <a:gd name="connsiteY29" fmla="*/ 622998 h 1934308"/>
                  <a:gd name="connsiteX30" fmla="*/ 4381081 w 5933552"/>
                  <a:gd name="connsiteY30" fmla="*/ 653143 h 1934308"/>
                  <a:gd name="connsiteX31" fmla="*/ 4752870 w 5933552"/>
                  <a:gd name="connsiteY31" fmla="*/ 683288 h 1934308"/>
                  <a:gd name="connsiteX32" fmla="*/ 5164853 w 5933552"/>
                  <a:gd name="connsiteY32" fmla="*/ 758650 h 1934308"/>
                  <a:gd name="connsiteX33" fmla="*/ 5441182 w 5933552"/>
                  <a:gd name="connsiteY33" fmla="*/ 823965 h 1934308"/>
                  <a:gd name="connsiteX34" fmla="*/ 5612004 w 5933552"/>
                  <a:gd name="connsiteY34" fmla="*/ 899327 h 1934308"/>
                  <a:gd name="connsiteX35" fmla="*/ 5807947 w 5933552"/>
                  <a:gd name="connsiteY35" fmla="*/ 1045028 h 1934308"/>
                  <a:gd name="connsiteX36" fmla="*/ 5823020 w 5933552"/>
                  <a:gd name="connsiteY36" fmla="*/ 1115367 h 1934308"/>
                  <a:gd name="connsiteX37" fmla="*/ 5838092 w 5933552"/>
                  <a:gd name="connsiteY37" fmla="*/ 1215850 h 1934308"/>
                  <a:gd name="connsiteX38" fmla="*/ 5823020 w 5933552"/>
                  <a:gd name="connsiteY38" fmla="*/ 1245995 h 1934308"/>
                  <a:gd name="connsiteX39" fmla="*/ 5863213 w 5933552"/>
                  <a:gd name="connsiteY39" fmla="*/ 1296237 h 1934308"/>
                  <a:gd name="connsiteX40" fmla="*/ 5893358 w 5933552"/>
                  <a:gd name="connsiteY40" fmla="*/ 1356527 h 1934308"/>
                  <a:gd name="connsiteX41" fmla="*/ 5893358 w 5933552"/>
                  <a:gd name="connsiteY41" fmla="*/ 1431890 h 1934308"/>
                  <a:gd name="connsiteX42" fmla="*/ 5928527 w 5933552"/>
                  <a:gd name="connsiteY42" fmla="*/ 1492180 h 1934308"/>
                  <a:gd name="connsiteX43" fmla="*/ 5918479 w 5933552"/>
                  <a:gd name="connsiteY43" fmla="*/ 1602712 h 1934308"/>
                  <a:gd name="connsiteX44" fmla="*/ 5898382 w 5933552"/>
                  <a:gd name="connsiteY44" fmla="*/ 1683099 h 1934308"/>
                  <a:gd name="connsiteX45" fmla="*/ 5918479 w 5933552"/>
                  <a:gd name="connsiteY45" fmla="*/ 1773534 h 1934308"/>
                  <a:gd name="connsiteX46" fmla="*/ 5933552 w 5933552"/>
                  <a:gd name="connsiteY46" fmla="*/ 1808703 h 1934308"/>
                  <a:gd name="connsiteX47" fmla="*/ 5812971 w 5933552"/>
                  <a:gd name="connsiteY47" fmla="*/ 1868993 h 1934308"/>
                  <a:gd name="connsiteX48" fmla="*/ 5812971 w 5933552"/>
                  <a:gd name="connsiteY48" fmla="*/ 1868993 h 1934308"/>
                  <a:gd name="connsiteX49" fmla="*/ 5727560 w 5933552"/>
                  <a:gd name="connsiteY49" fmla="*/ 1929283 h 1934308"/>
                  <a:gd name="connsiteX50" fmla="*/ 5390941 w 5933552"/>
                  <a:gd name="connsiteY50" fmla="*/ 1934308 h 1934308"/>
                  <a:gd name="connsiteX51" fmla="*/ 4235380 w 5933552"/>
                  <a:gd name="connsiteY51" fmla="*/ 1919235 h 1934308"/>
                  <a:gd name="connsiteX52" fmla="*/ 1688123 w 5933552"/>
                  <a:gd name="connsiteY52" fmla="*/ 1899138 h 1934308"/>
                  <a:gd name="connsiteX53" fmla="*/ 507442 w 5933552"/>
                  <a:gd name="connsiteY53" fmla="*/ 1833824 h 1934308"/>
                  <a:gd name="connsiteX54" fmla="*/ 281354 w 5933552"/>
                  <a:gd name="connsiteY54" fmla="*/ 1833824 h 1934308"/>
                  <a:gd name="connsiteX55" fmla="*/ 130629 w 5933552"/>
                  <a:gd name="connsiteY55" fmla="*/ 1758461 h 1934308"/>
                  <a:gd name="connsiteX56" fmla="*/ 10048 w 5933552"/>
                  <a:gd name="connsiteY56" fmla="*/ 1678075 h 1934308"/>
                  <a:gd name="connsiteX57" fmla="*/ 0 w 5933552"/>
                  <a:gd name="connsiteY57" fmla="*/ 1537398 h 1934308"/>
                  <a:gd name="connsiteX58" fmla="*/ 15072 w 5933552"/>
                  <a:gd name="connsiteY58" fmla="*/ 1487156 h 1934308"/>
                  <a:gd name="connsiteX59" fmla="*/ 15072 w 5933552"/>
                  <a:gd name="connsiteY59" fmla="*/ 1431890 h 1934308"/>
                  <a:gd name="connsiteX60" fmla="*/ 25121 w 5933552"/>
                  <a:gd name="connsiteY60" fmla="*/ 1381648 h 1934308"/>
                  <a:gd name="connsiteX61" fmla="*/ 40193 w 5933552"/>
                  <a:gd name="connsiteY61" fmla="*/ 1356527 h 1934308"/>
                  <a:gd name="connsiteX62" fmla="*/ 65314 w 5933552"/>
                  <a:gd name="connsiteY62" fmla="*/ 1311310 h 1934308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57301 w 5933552"/>
                  <a:gd name="connsiteY52" fmla="*/ 1891925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57301 w 5933552"/>
                  <a:gd name="connsiteY52" fmla="*/ 1891925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57301 w 5933552"/>
                  <a:gd name="connsiteY52" fmla="*/ 1891925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312804 w 5933552"/>
                  <a:gd name="connsiteY51" fmla="*/ 1552761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51455 w 5933552"/>
                  <a:gd name="connsiteY51" fmla="*/ 1926022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51455 w 5933552"/>
                  <a:gd name="connsiteY51" fmla="*/ 1926022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50907"/>
                  <a:gd name="connsiteX1" fmla="*/ 75363 w 5933552"/>
                  <a:gd name="connsiteY1" fmla="*/ 1083259 h 1950907"/>
                  <a:gd name="connsiteX2" fmla="*/ 45218 w 5933552"/>
                  <a:gd name="connsiteY2" fmla="*/ 1073210 h 1950907"/>
                  <a:gd name="connsiteX3" fmla="*/ 95459 w 5933552"/>
                  <a:gd name="connsiteY3" fmla="*/ 887316 h 1950907"/>
                  <a:gd name="connsiteX4" fmla="*/ 80387 w 5933552"/>
                  <a:gd name="connsiteY4" fmla="*/ 771760 h 1950907"/>
                  <a:gd name="connsiteX5" fmla="*/ 85411 w 5933552"/>
                  <a:gd name="connsiteY5" fmla="*/ 716494 h 1950907"/>
                  <a:gd name="connsiteX6" fmla="*/ 105508 w 5933552"/>
                  <a:gd name="connsiteY6" fmla="*/ 696397 h 1950907"/>
                  <a:gd name="connsiteX7" fmla="*/ 135653 w 5933552"/>
                  <a:gd name="connsiteY7" fmla="*/ 676300 h 1950907"/>
                  <a:gd name="connsiteX8" fmla="*/ 467248 w 5933552"/>
                  <a:gd name="connsiteY8" fmla="*/ 329632 h 1950907"/>
                  <a:gd name="connsiteX9" fmla="*/ 472272 w 5933552"/>
                  <a:gd name="connsiteY9" fmla="*/ 284415 h 1950907"/>
                  <a:gd name="connsiteX10" fmla="*/ 442127 w 5933552"/>
                  <a:gd name="connsiteY10" fmla="*/ 259294 h 1950907"/>
                  <a:gd name="connsiteX11" fmla="*/ 406958 w 5933552"/>
                  <a:gd name="connsiteY11" fmla="*/ 229149 h 1950907"/>
                  <a:gd name="connsiteX12" fmla="*/ 406958 w 5933552"/>
                  <a:gd name="connsiteY12" fmla="*/ 204028 h 1950907"/>
                  <a:gd name="connsiteX13" fmla="*/ 462224 w 5933552"/>
                  <a:gd name="connsiteY13" fmla="*/ 193980 h 1950907"/>
                  <a:gd name="connsiteX14" fmla="*/ 864158 w 5933552"/>
                  <a:gd name="connsiteY14" fmla="*/ 143738 h 1950907"/>
                  <a:gd name="connsiteX15" fmla="*/ 999811 w 5933552"/>
                  <a:gd name="connsiteY15" fmla="*/ 88472 h 1950907"/>
                  <a:gd name="connsiteX16" fmla="*/ 1024932 w 5933552"/>
                  <a:gd name="connsiteY16" fmla="*/ 78424 h 1950907"/>
                  <a:gd name="connsiteX17" fmla="*/ 999811 w 5933552"/>
                  <a:gd name="connsiteY17" fmla="*/ 28182 h 1950907"/>
                  <a:gd name="connsiteX18" fmla="*/ 1070149 w 5933552"/>
                  <a:gd name="connsiteY18" fmla="*/ 33206 h 1950907"/>
                  <a:gd name="connsiteX19" fmla="*/ 1130439 w 5933552"/>
                  <a:gd name="connsiteY19" fmla="*/ 53303 h 1950907"/>
                  <a:gd name="connsiteX20" fmla="*/ 1160585 w 5933552"/>
                  <a:gd name="connsiteY20" fmla="*/ 63351 h 1950907"/>
                  <a:gd name="connsiteX21" fmla="*/ 1683099 w 5933552"/>
                  <a:gd name="connsiteY21" fmla="*/ 13109 h 1950907"/>
                  <a:gd name="connsiteX22" fmla="*/ 2306097 w 5933552"/>
                  <a:gd name="connsiteY22" fmla="*/ 3061 h 1950907"/>
                  <a:gd name="connsiteX23" fmla="*/ 3029578 w 5933552"/>
                  <a:gd name="connsiteY23" fmla="*/ 58327 h 1950907"/>
                  <a:gd name="connsiteX24" fmla="*/ 3135086 w 5933552"/>
                  <a:gd name="connsiteY24" fmla="*/ 78424 h 1950907"/>
                  <a:gd name="connsiteX25" fmla="*/ 3255666 w 5933552"/>
                  <a:gd name="connsiteY25" fmla="*/ 98520 h 1950907"/>
                  <a:gd name="connsiteX26" fmla="*/ 3542044 w 5933552"/>
                  <a:gd name="connsiteY26" fmla="*/ 183931 h 1950907"/>
                  <a:gd name="connsiteX27" fmla="*/ 3798277 w 5933552"/>
                  <a:gd name="connsiteY27" fmla="*/ 319584 h 1950907"/>
                  <a:gd name="connsiteX28" fmla="*/ 4210259 w 5933552"/>
                  <a:gd name="connsiteY28" fmla="*/ 545672 h 1950907"/>
                  <a:gd name="connsiteX29" fmla="*/ 4340888 w 5933552"/>
                  <a:gd name="connsiteY29" fmla="*/ 626059 h 1950907"/>
                  <a:gd name="connsiteX30" fmla="*/ 4381081 w 5933552"/>
                  <a:gd name="connsiteY30" fmla="*/ 656204 h 1950907"/>
                  <a:gd name="connsiteX31" fmla="*/ 4752870 w 5933552"/>
                  <a:gd name="connsiteY31" fmla="*/ 686349 h 1950907"/>
                  <a:gd name="connsiteX32" fmla="*/ 5164853 w 5933552"/>
                  <a:gd name="connsiteY32" fmla="*/ 761711 h 1950907"/>
                  <a:gd name="connsiteX33" fmla="*/ 5441182 w 5933552"/>
                  <a:gd name="connsiteY33" fmla="*/ 827026 h 1950907"/>
                  <a:gd name="connsiteX34" fmla="*/ 5612004 w 5933552"/>
                  <a:gd name="connsiteY34" fmla="*/ 902388 h 1950907"/>
                  <a:gd name="connsiteX35" fmla="*/ 5807947 w 5933552"/>
                  <a:gd name="connsiteY35" fmla="*/ 1048089 h 1950907"/>
                  <a:gd name="connsiteX36" fmla="*/ 5823020 w 5933552"/>
                  <a:gd name="connsiteY36" fmla="*/ 1118428 h 1950907"/>
                  <a:gd name="connsiteX37" fmla="*/ 5838092 w 5933552"/>
                  <a:gd name="connsiteY37" fmla="*/ 1218911 h 1950907"/>
                  <a:gd name="connsiteX38" fmla="*/ 5823020 w 5933552"/>
                  <a:gd name="connsiteY38" fmla="*/ 1249056 h 1950907"/>
                  <a:gd name="connsiteX39" fmla="*/ 5863213 w 5933552"/>
                  <a:gd name="connsiteY39" fmla="*/ 1299298 h 1950907"/>
                  <a:gd name="connsiteX40" fmla="*/ 5893358 w 5933552"/>
                  <a:gd name="connsiteY40" fmla="*/ 1359588 h 1950907"/>
                  <a:gd name="connsiteX41" fmla="*/ 5893358 w 5933552"/>
                  <a:gd name="connsiteY41" fmla="*/ 1434951 h 1950907"/>
                  <a:gd name="connsiteX42" fmla="*/ 5928527 w 5933552"/>
                  <a:gd name="connsiteY42" fmla="*/ 1495241 h 1950907"/>
                  <a:gd name="connsiteX43" fmla="*/ 5918479 w 5933552"/>
                  <a:gd name="connsiteY43" fmla="*/ 1605773 h 1950907"/>
                  <a:gd name="connsiteX44" fmla="*/ 5898382 w 5933552"/>
                  <a:gd name="connsiteY44" fmla="*/ 1686160 h 1950907"/>
                  <a:gd name="connsiteX45" fmla="*/ 5918479 w 5933552"/>
                  <a:gd name="connsiteY45" fmla="*/ 1776595 h 1950907"/>
                  <a:gd name="connsiteX46" fmla="*/ 5933552 w 5933552"/>
                  <a:gd name="connsiteY46" fmla="*/ 1811764 h 1950907"/>
                  <a:gd name="connsiteX47" fmla="*/ 5812971 w 5933552"/>
                  <a:gd name="connsiteY47" fmla="*/ 1872054 h 1950907"/>
                  <a:gd name="connsiteX48" fmla="*/ 5812971 w 5933552"/>
                  <a:gd name="connsiteY48" fmla="*/ 1872054 h 1950907"/>
                  <a:gd name="connsiteX49" fmla="*/ 5727560 w 5933552"/>
                  <a:gd name="connsiteY49" fmla="*/ 1932344 h 1950907"/>
                  <a:gd name="connsiteX50" fmla="*/ 5390941 w 5933552"/>
                  <a:gd name="connsiteY50" fmla="*/ 1937369 h 1950907"/>
                  <a:gd name="connsiteX51" fmla="*/ 5241231 w 5933552"/>
                  <a:gd name="connsiteY51" fmla="*/ 1950907 h 1950907"/>
                  <a:gd name="connsiteX52" fmla="*/ 4235380 w 5933552"/>
                  <a:gd name="connsiteY52" fmla="*/ 1922296 h 1950907"/>
                  <a:gd name="connsiteX53" fmla="*/ 1657301 w 5933552"/>
                  <a:gd name="connsiteY53" fmla="*/ 1891925 h 1950907"/>
                  <a:gd name="connsiteX54" fmla="*/ 507442 w 5933552"/>
                  <a:gd name="connsiteY54" fmla="*/ 1836885 h 1950907"/>
                  <a:gd name="connsiteX55" fmla="*/ 281354 w 5933552"/>
                  <a:gd name="connsiteY55" fmla="*/ 1836885 h 1950907"/>
                  <a:gd name="connsiteX56" fmla="*/ 130629 w 5933552"/>
                  <a:gd name="connsiteY56" fmla="*/ 1761522 h 1950907"/>
                  <a:gd name="connsiteX57" fmla="*/ 10048 w 5933552"/>
                  <a:gd name="connsiteY57" fmla="*/ 1681136 h 1950907"/>
                  <a:gd name="connsiteX58" fmla="*/ 0 w 5933552"/>
                  <a:gd name="connsiteY58" fmla="*/ 1540459 h 1950907"/>
                  <a:gd name="connsiteX59" fmla="*/ 15072 w 5933552"/>
                  <a:gd name="connsiteY59" fmla="*/ 1490217 h 1950907"/>
                  <a:gd name="connsiteX60" fmla="*/ 15072 w 5933552"/>
                  <a:gd name="connsiteY60" fmla="*/ 1434951 h 1950907"/>
                  <a:gd name="connsiteX61" fmla="*/ 25121 w 5933552"/>
                  <a:gd name="connsiteY61" fmla="*/ 1384709 h 1950907"/>
                  <a:gd name="connsiteX62" fmla="*/ 40193 w 5933552"/>
                  <a:gd name="connsiteY62" fmla="*/ 1359588 h 1950907"/>
                  <a:gd name="connsiteX63" fmla="*/ 65314 w 5933552"/>
                  <a:gd name="connsiteY63" fmla="*/ 1314371 h 1950907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46343 w 5933552"/>
                  <a:gd name="connsiteY51" fmla="*/ 1935977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46343 w 5933552"/>
                  <a:gd name="connsiteY51" fmla="*/ 1935977 h 1937369"/>
                  <a:gd name="connsiteX52" fmla="*/ 4373414 w 5933552"/>
                  <a:gd name="connsiteY52" fmla="*/ 1917320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2179673"/>
                  <a:gd name="connsiteX1" fmla="*/ 75363 w 5933552"/>
                  <a:gd name="connsiteY1" fmla="*/ 1083259 h 2179673"/>
                  <a:gd name="connsiteX2" fmla="*/ 45218 w 5933552"/>
                  <a:gd name="connsiteY2" fmla="*/ 1073210 h 2179673"/>
                  <a:gd name="connsiteX3" fmla="*/ 95459 w 5933552"/>
                  <a:gd name="connsiteY3" fmla="*/ 887316 h 2179673"/>
                  <a:gd name="connsiteX4" fmla="*/ 80387 w 5933552"/>
                  <a:gd name="connsiteY4" fmla="*/ 771760 h 2179673"/>
                  <a:gd name="connsiteX5" fmla="*/ 85411 w 5933552"/>
                  <a:gd name="connsiteY5" fmla="*/ 716494 h 2179673"/>
                  <a:gd name="connsiteX6" fmla="*/ 105508 w 5933552"/>
                  <a:gd name="connsiteY6" fmla="*/ 696397 h 2179673"/>
                  <a:gd name="connsiteX7" fmla="*/ 135653 w 5933552"/>
                  <a:gd name="connsiteY7" fmla="*/ 676300 h 2179673"/>
                  <a:gd name="connsiteX8" fmla="*/ 467248 w 5933552"/>
                  <a:gd name="connsiteY8" fmla="*/ 329632 h 2179673"/>
                  <a:gd name="connsiteX9" fmla="*/ 472272 w 5933552"/>
                  <a:gd name="connsiteY9" fmla="*/ 284415 h 2179673"/>
                  <a:gd name="connsiteX10" fmla="*/ 442127 w 5933552"/>
                  <a:gd name="connsiteY10" fmla="*/ 259294 h 2179673"/>
                  <a:gd name="connsiteX11" fmla="*/ 406958 w 5933552"/>
                  <a:gd name="connsiteY11" fmla="*/ 229149 h 2179673"/>
                  <a:gd name="connsiteX12" fmla="*/ 406958 w 5933552"/>
                  <a:gd name="connsiteY12" fmla="*/ 204028 h 2179673"/>
                  <a:gd name="connsiteX13" fmla="*/ 462224 w 5933552"/>
                  <a:gd name="connsiteY13" fmla="*/ 193980 h 2179673"/>
                  <a:gd name="connsiteX14" fmla="*/ 864158 w 5933552"/>
                  <a:gd name="connsiteY14" fmla="*/ 143738 h 2179673"/>
                  <a:gd name="connsiteX15" fmla="*/ 999811 w 5933552"/>
                  <a:gd name="connsiteY15" fmla="*/ 88472 h 2179673"/>
                  <a:gd name="connsiteX16" fmla="*/ 1024932 w 5933552"/>
                  <a:gd name="connsiteY16" fmla="*/ 78424 h 2179673"/>
                  <a:gd name="connsiteX17" fmla="*/ 999811 w 5933552"/>
                  <a:gd name="connsiteY17" fmla="*/ 28182 h 2179673"/>
                  <a:gd name="connsiteX18" fmla="*/ 1070149 w 5933552"/>
                  <a:gd name="connsiteY18" fmla="*/ 33206 h 2179673"/>
                  <a:gd name="connsiteX19" fmla="*/ 1130439 w 5933552"/>
                  <a:gd name="connsiteY19" fmla="*/ 53303 h 2179673"/>
                  <a:gd name="connsiteX20" fmla="*/ 1160585 w 5933552"/>
                  <a:gd name="connsiteY20" fmla="*/ 63351 h 2179673"/>
                  <a:gd name="connsiteX21" fmla="*/ 1683099 w 5933552"/>
                  <a:gd name="connsiteY21" fmla="*/ 13109 h 2179673"/>
                  <a:gd name="connsiteX22" fmla="*/ 2306097 w 5933552"/>
                  <a:gd name="connsiteY22" fmla="*/ 3061 h 2179673"/>
                  <a:gd name="connsiteX23" fmla="*/ 3029578 w 5933552"/>
                  <a:gd name="connsiteY23" fmla="*/ 58327 h 2179673"/>
                  <a:gd name="connsiteX24" fmla="*/ 3135086 w 5933552"/>
                  <a:gd name="connsiteY24" fmla="*/ 78424 h 2179673"/>
                  <a:gd name="connsiteX25" fmla="*/ 3255666 w 5933552"/>
                  <a:gd name="connsiteY25" fmla="*/ 98520 h 2179673"/>
                  <a:gd name="connsiteX26" fmla="*/ 3542044 w 5933552"/>
                  <a:gd name="connsiteY26" fmla="*/ 183931 h 2179673"/>
                  <a:gd name="connsiteX27" fmla="*/ 3798277 w 5933552"/>
                  <a:gd name="connsiteY27" fmla="*/ 319584 h 2179673"/>
                  <a:gd name="connsiteX28" fmla="*/ 4210259 w 5933552"/>
                  <a:gd name="connsiteY28" fmla="*/ 545672 h 2179673"/>
                  <a:gd name="connsiteX29" fmla="*/ 4340888 w 5933552"/>
                  <a:gd name="connsiteY29" fmla="*/ 626059 h 2179673"/>
                  <a:gd name="connsiteX30" fmla="*/ 4381081 w 5933552"/>
                  <a:gd name="connsiteY30" fmla="*/ 656204 h 2179673"/>
                  <a:gd name="connsiteX31" fmla="*/ 4752870 w 5933552"/>
                  <a:gd name="connsiteY31" fmla="*/ 686349 h 2179673"/>
                  <a:gd name="connsiteX32" fmla="*/ 5164853 w 5933552"/>
                  <a:gd name="connsiteY32" fmla="*/ 761711 h 2179673"/>
                  <a:gd name="connsiteX33" fmla="*/ 5441182 w 5933552"/>
                  <a:gd name="connsiteY33" fmla="*/ 827026 h 2179673"/>
                  <a:gd name="connsiteX34" fmla="*/ 5612004 w 5933552"/>
                  <a:gd name="connsiteY34" fmla="*/ 902388 h 2179673"/>
                  <a:gd name="connsiteX35" fmla="*/ 5807947 w 5933552"/>
                  <a:gd name="connsiteY35" fmla="*/ 1048089 h 2179673"/>
                  <a:gd name="connsiteX36" fmla="*/ 5823020 w 5933552"/>
                  <a:gd name="connsiteY36" fmla="*/ 1118428 h 2179673"/>
                  <a:gd name="connsiteX37" fmla="*/ 5838092 w 5933552"/>
                  <a:gd name="connsiteY37" fmla="*/ 1218911 h 2179673"/>
                  <a:gd name="connsiteX38" fmla="*/ 5823020 w 5933552"/>
                  <a:gd name="connsiteY38" fmla="*/ 1249056 h 2179673"/>
                  <a:gd name="connsiteX39" fmla="*/ 5863213 w 5933552"/>
                  <a:gd name="connsiteY39" fmla="*/ 1299298 h 2179673"/>
                  <a:gd name="connsiteX40" fmla="*/ 5893358 w 5933552"/>
                  <a:gd name="connsiteY40" fmla="*/ 1359588 h 2179673"/>
                  <a:gd name="connsiteX41" fmla="*/ 5893358 w 5933552"/>
                  <a:gd name="connsiteY41" fmla="*/ 1434951 h 2179673"/>
                  <a:gd name="connsiteX42" fmla="*/ 5928527 w 5933552"/>
                  <a:gd name="connsiteY42" fmla="*/ 1495241 h 2179673"/>
                  <a:gd name="connsiteX43" fmla="*/ 5918479 w 5933552"/>
                  <a:gd name="connsiteY43" fmla="*/ 1605773 h 2179673"/>
                  <a:gd name="connsiteX44" fmla="*/ 5898382 w 5933552"/>
                  <a:gd name="connsiteY44" fmla="*/ 1686160 h 2179673"/>
                  <a:gd name="connsiteX45" fmla="*/ 5918479 w 5933552"/>
                  <a:gd name="connsiteY45" fmla="*/ 1776595 h 2179673"/>
                  <a:gd name="connsiteX46" fmla="*/ 5933552 w 5933552"/>
                  <a:gd name="connsiteY46" fmla="*/ 1811764 h 2179673"/>
                  <a:gd name="connsiteX47" fmla="*/ 5812971 w 5933552"/>
                  <a:gd name="connsiteY47" fmla="*/ 1872054 h 2179673"/>
                  <a:gd name="connsiteX48" fmla="*/ 5812971 w 5933552"/>
                  <a:gd name="connsiteY48" fmla="*/ 1872054 h 2179673"/>
                  <a:gd name="connsiteX49" fmla="*/ 5727560 w 5933552"/>
                  <a:gd name="connsiteY49" fmla="*/ 1932344 h 2179673"/>
                  <a:gd name="connsiteX50" fmla="*/ 5390941 w 5933552"/>
                  <a:gd name="connsiteY50" fmla="*/ 1937369 h 2179673"/>
                  <a:gd name="connsiteX51" fmla="*/ 5246343 w 5933552"/>
                  <a:gd name="connsiteY51" fmla="*/ 1935977 h 2179673"/>
                  <a:gd name="connsiteX52" fmla="*/ 4373414 w 5933552"/>
                  <a:gd name="connsiteY52" fmla="*/ 1917320 h 2179673"/>
                  <a:gd name="connsiteX53" fmla="*/ 1657301 w 5933552"/>
                  <a:gd name="connsiteY53" fmla="*/ 1891925 h 2179673"/>
                  <a:gd name="connsiteX54" fmla="*/ 507442 w 5933552"/>
                  <a:gd name="connsiteY54" fmla="*/ 1836885 h 2179673"/>
                  <a:gd name="connsiteX55" fmla="*/ 281354 w 5933552"/>
                  <a:gd name="connsiteY55" fmla="*/ 1836885 h 2179673"/>
                  <a:gd name="connsiteX56" fmla="*/ 130629 w 5933552"/>
                  <a:gd name="connsiteY56" fmla="*/ 1761522 h 2179673"/>
                  <a:gd name="connsiteX57" fmla="*/ 10048 w 5933552"/>
                  <a:gd name="connsiteY57" fmla="*/ 1681136 h 2179673"/>
                  <a:gd name="connsiteX58" fmla="*/ 0 w 5933552"/>
                  <a:gd name="connsiteY58" fmla="*/ 1540459 h 2179673"/>
                  <a:gd name="connsiteX59" fmla="*/ 15072 w 5933552"/>
                  <a:gd name="connsiteY59" fmla="*/ 1490217 h 2179673"/>
                  <a:gd name="connsiteX60" fmla="*/ 15072 w 5933552"/>
                  <a:gd name="connsiteY60" fmla="*/ 1434951 h 2179673"/>
                  <a:gd name="connsiteX61" fmla="*/ 25121 w 5933552"/>
                  <a:gd name="connsiteY61" fmla="*/ 1384709 h 2179673"/>
                  <a:gd name="connsiteX62" fmla="*/ 40193 w 5933552"/>
                  <a:gd name="connsiteY62" fmla="*/ 1359588 h 2179673"/>
                  <a:gd name="connsiteX63" fmla="*/ 65314 w 5933552"/>
                  <a:gd name="connsiteY63" fmla="*/ 1314371 h 2179673"/>
                  <a:gd name="connsiteX0" fmla="*/ 65314 w 5933552"/>
                  <a:gd name="connsiteY0" fmla="*/ 1314371 h 2243073"/>
                  <a:gd name="connsiteX1" fmla="*/ 75363 w 5933552"/>
                  <a:gd name="connsiteY1" fmla="*/ 1083259 h 2243073"/>
                  <a:gd name="connsiteX2" fmla="*/ 45218 w 5933552"/>
                  <a:gd name="connsiteY2" fmla="*/ 1073210 h 2243073"/>
                  <a:gd name="connsiteX3" fmla="*/ 95459 w 5933552"/>
                  <a:gd name="connsiteY3" fmla="*/ 887316 h 2243073"/>
                  <a:gd name="connsiteX4" fmla="*/ 80387 w 5933552"/>
                  <a:gd name="connsiteY4" fmla="*/ 771760 h 2243073"/>
                  <a:gd name="connsiteX5" fmla="*/ 85411 w 5933552"/>
                  <a:gd name="connsiteY5" fmla="*/ 716494 h 2243073"/>
                  <a:gd name="connsiteX6" fmla="*/ 105508 w 5933552"/>
                  <a:gd name="connsiteY6" fmla="*/ 696397 h 2243073"/>
                  <a:gd name="connsiteX7" fmla="*/ 135653 w 5933552"/>
                  <a:gd name="connsiteY7" fmla="*/ 676300 h 2243073"/>
                  <a:gd name="connsiteX8" fmla="*/ 467248 w 5933552"/>
                  <a:gd name="connsiteY8" fmla="*/ 329632 h 2243073"/>
                  <a:gd name="connsiteX9" fmla="*/ 472272 w 5933552"/>
                  <a:gd name="connsiteY9" fmla="*/ 284415 h 2243073"/>
                  <a:gd name="connsiteX10" fmla="*/ 442127 w 5933552"/>
                  <a:gd name="connsiteY10" fmla="*/ 259294 h 2243073"/>
                  <a:gd name="connsiteX11" fmla="*/ 406958 w 5933552"/>
                  <a:gd name="connsiteY11" fmla="*/ 229149 h 2243073"/>
                  <a:gd name="connsiteX12" fmla="*/ 406958 w 5933552"/>
                  <a:gd name="connsiteY12" fmla="*/ 204028 h 2243073"/>
                  <a:gd name="connsiteX13" fmla="*/ 462224 w 5933552"/>
                  <a:gd name="connsiteY13" fmla="*/ 193980 h 2243073"/>
                  <a:gd name="connsiteX14" fmla="*/ 864158 w 5933552"/>
                  <a:gd name="connsiteY14" fmla="*/ 143738 h 2243073"/>
                  <a:gd name="connsiteX15" fmla="*/ 999811 w 5933552"/>
                  <a:gd name="connsiteY15" fmla="*/ 88472 h 2243073"/>
                  <a:gd name="connsiteX16" fmla="*/ 1024932 w 5933552"/>
                  <a:gd name="connsiteY16" fmla="*/ 78424 h 2243073"/>
                  <a:gd name="connsiteX17" fmla="*/ 999811 w 5933552"/>
                  <a:gd name="connsiteY17" fmla="*/ 28182 h 2243073"/>
                  <a:gd name="connsiteX18" fmla="*/ 1070149 w 5933552"/>
                  <a:gd name="connsiteY18" fmla="*/ 33206 h 2243073"/>
                  <a:gd name="connsiteX19" fmla="*/ 1130439 w 5933552"/>
                  <a:gd name="connsiteY19" fmla="*/ 53303 h 2243073"/>
                  <a:gd name="connsiteX20" fmla="*/ 1160585 w 5933552"/>
                  <a:gd name="connsiteY20" fmla="*/ 63351 h 2243073"/>
                  <a:gd name="connsiteX21" fmla="*/ 1683099 w 5933552"/>
                  <a:gd name="connsiteY21" fmla="*/ 13109 h 2243073"/>
                  <a:gd name="connsiteX22" fmla="*/ 2306097 w 5933552"/>
                  <a:gd name="connsiteY22" fmla="*/ 3061 h 2243073"/>
                  <a:gd name="connsiteX23" fmla="*/ 3029578 w 5933552"/>
                  <a:gd name="connsiteY23" fmla="*/ 58327 h 2243073"/>
                  <a:gd name="connsiteX24" fmla="*/ 3135086 w 5933552"/>
                  <a:gd name="connsiteY24" fmla="*/ 78424 h 2243073"/>
                  <a:gd name="connsiteX25" fmla="*/ 3255666 w 5933552"/>
                  <a:gd name="connsiteY25" fmla="*/ 98520 h 2243073"/>
                  <a:gd name="connsiteX26" fmla="*/ 3542044 w 5933552"/>
                  <a:gd name="connsiteY26" fmla="*/ 183931 h 2243073"/>
                  <a:gd name="connsiteX27" fmla="*/ 3798277 w 5933552"/>
                  <a:gd name="connsiteY27" fmla="*/ 319584 h 2243073"/>
                  <a:gd name="connsiteX28" fmla="*/ 4210259 w 5933552"/>
                  <a:gd name="connsiteY28" fmla="*/ 545672 h 2243073"/>
                  <a:gd name="connsiteX29" fmla="*/ 4340888 w 5933552"/>
                  <a:gd name="connsiteY29" fmla="*/ 626059 h 2243073"/>
                  <a:gd name="connsiteX30" fmla="*/ 4381081 w 5933552"/>
                  <a:gd name="connsiteY30" fmla="*/ 656204 h 2243073"/>
                  <a:gd name="connsiteX31" fmla="*/ 4752870 w 5933552"/>
                  <a:gd name="connsiteY31" fmla="*/ 686349 h 2243073"/>
                  <a:gd name="connsiteX32" fmla="*/ 5164853 w 5933552"/>
                  <a:gd name="connsiteY32" fmla="*/ 761711 h 2243073"/>
                  <a:gd name="connsiteX33" fmla="*/ 5441182 w 5933552"/>
                  <a:gd name="connsiteY33" fmla="*/ 827026 h 2243073"/>
                  <a:gd name="connsiteX34" fmla="*/ 5612004 w 5933552"/>
                  <a:gd name="connsiteY34" fmla="*/ 902388 h 2243073"/>
                  <a:gd name="connsiteX35" fmla="*/ 5807947 w 5933552"/>
                  <a:gd name="connsiteY35" fmla="*/ 1048089 h 2243073"/>
                  <a:gd name="connsiteX36" fmla="*/ 5823020 w 5933552"/>
                  <a:gd name="connsiteY36" fmla="*/ 1118428 h 2243073"/>
                  <a:gd name="connsiteX37" fmla="*/ 5838092 w 5933552"/>
                  <a:gd name="connsiteY37" fmla="*/ 1218911 h 2243073"/>
                  <a:gd name="connsiteX38" fmla="*/ 5823020 w 5933552"/>
                  <a:gd name="connsiteY38" fmla="*/ 1249056 h 2243073"/>
                  <a:gd name="connsiteX39" fmla="*/ 5863213 w 5933552"/>
                  <a:gd name="connsiteY39" fmla="*/ 1299298 h 2243073"/>
                  <a:gd name="connsiteX40" fmla="*/ 5893358 w 5933552"/>
                  <a:gd name="connsiteY40" fmla="*/ 1359588 h 2243073"/>
                  <a:gd name="connsiteX41" fmla="*/ 5893358 w 5933552"/>
                  <a:gd name="connsiteY41" fmla="*/ 1434951 h 2243073"/>
                  <a:gd name="connsiteX42" fmla="*/ 5928527 w 5933552"/>
                  <a:gd name="connsiteY42" fmla="*/ 1495241 h 2243073"/>
                  <a:gd name="connsiteX43" fmla="*/ 5918479 w 5933552"/>
                  <a:gd name="connsiteY43" fmla="*/ 1605773 h 2243073"/>
                  <a:gd name="connsiteX44" fmla="*/ 5898382 w 5933552"/>
                  <a:gd name="connsiteY44" fmla="*/ 1686160 h 2243073"/>
                  <a:gd name="connsiteX45" fmla="*/ 5918479 w 5933552"/>
                  <a:gd name="connsiteY45" fmla="*/ 1776595 h 2243073"/>
                  <a:gd name="connsiteX46" fmla="*/ 5933552 w 5933552"/>
                  <a:gd name="connsiteY46" fmla="*/ 1811764 h 2243073"/>
                  <a:gd name="connsiteX47" fmla="*/ 5812971 w 5933552"/>
                  <a:gd name="connsiteY47" fmla="*/ 1872054 h 2243073"/>
                  <a:gd name="connsiteX48" fmla="*/ 5812971 w 5933552"/>
                  <a:gd name="connsiteY48" fmla="*/ 1872054 h 2243073"/>
                  <a:gd name="connsiteX49" fmla="*/ 5727560 w 5933552"/>
                  <a:gd name="connsiteY49" fmla="*/ 1932344 h 2243073"/>
                  <a:gd name="connsiteX50" fmla="*/ 5390941 w 5933552"/>
                  <a:gd name="connsiteY50" fmla="*/ 1937369 h 2243073"/>
                  <a:gd name="connsiteX51" fmla="*/ 5246343 w 5933552"/>
                  <a:gd name="connsiteY51" fmla="*/ 1935977 h 2243073"/>
                  <a:gd name="connsiteX52" fmla="*/ 4373414 w 5933552"/>
                  <a:gd name="connsiteY52" fmla="*/ 1917320 h 2243073"/>
                  <a:gd name="connsiteX53" fmla="*/ 1657301 w 5933552"/>
                  <a:gd name="connsiteY53" fmla="*/ 1891925 h 2243073"/>
                  <a:gd name="connsiteX54" fmla="*/ 507442 w 5933552"/>
                  <a:gd name="connsiteY54" fmla="*/ 1836885 h 2243073"/>
                  <a:gd name="connsiteX55" fmla="*/ 281354 w 5933552"/>
                  <a:gd name="connsiteY55" fmla="*/ 1836885 h 2243073"/>
                  <a:gd name="connsiteX56" fmla="*/ 130629 w 5933552"/>
                  <a:gd name="connsiteY56" fmla="*/ 1761522 h 2243073"/>
                  <a:gd name="connsiteX57" fmla="*/ 10048 w 5933552"/>
                  <a:gd name="connsiteY57" fmla="*/ 1681136 h 2243073"/>
                  <a:gd name="connsiteX58" fmla="*/ 0 w 5933552"/>
                  <a:gd name="connsiteY58" fmla="*/ 1540459 h 2243073"/>
                  <a:gd name="connsiteX59" fmla="*/ 15072 w 5933552"/>
                  <a:gd name="connsiteY59" fmla="*/ 1490217 h 2243073"/>
                  <a:gd name="connsiteX60" fmla="*/ 15072 w 5933552"/>
                  <a:gd name="connsiteY60" fmla="*/ 1434951 h 2243073"/>
                  <a:gd name="connsiteX61" fmla="*/ 25121 w 5933552"/>
                  <a:gd name="connsiteY61" fmla="*/ 1384709 h 2243073"/>
                  <a:gd name="connsiteX62" fmla="*/ 40193 w 5933552"/>
                  <a:gd name="connsiteY62" fmla="*/ 1359588 h 2243073"/>
                  <a:gd name="connsiteX63" fmla="*/ 65314 w 5933552"/>
                  <a:gd name="connsiteY63" fmla="*/ 1314371 h 2243073"/>
                  <a:gd name="connsiteX0" fmla="*/ 65314 w 5933552"/>
                  <a:gd name="connsiteY0" fmla="*/ 1314371 h 2243073"/>
                  <a:gd name="connsiteX1" fmla="*/ 75363 w 5933552"/>
                  <a:gd name="connsiteY1" fmla="*/ 1083259 h 2243073"/>
                  <a:gd name="connsiteX2" fmla="*/ 45218 w 5933552"/>
                  <a:gd name="connsiteY2" fmla="*/ 1073210 h 2243073"/>
                  <a:gd name="connsiteX3" fmla="*/ 95459 w 5933552"/>
                  <a:gd name="connsiteY3" fmla="*/ 887316 h 2243073"/>
                  <a:gd name="connsiteX4" fmla="*/ 80387 w 5933552"/>
                  <a:gd name="connsiteY4" fmla="*/ 771760 h 2243073"/>
                  <a:gd name="connsiteX5" fmla="*/ 85411 w 5933552"/>
                  <a:gd name="connsiteY5" fmla="*/ 716494 h 2243073"/>
                  <a:gd name="connsiteX6" fmla="*/ 105508 w 5933552"/>
                  <a:gd name="connsiteY6" fmla="*/ 696397 h 2243073"/>
                  <a:gd name="connsiteX7" fmla="*/ 135653 w 5933552"/>
                  <a:gd name="connsiteY7" fmla="*/ 676300 h 2243073"/>
                  <a:gd name="connsiteX8" fmla="*/ 467248 w 5933552"/>
                  <a:gd name="connsiteY8" fmla="*/ 329632 h 2243073"/>
                  <a:gd name="connsiteX9" fmla="*/ 472272 w 5933552"/>
                  <a:gd name="connsiteY9" fmla="*/ 284415 h 2243073"/>
                  <a:gd name="connsiteX10" fmla="*/ 442127 w 5933552"/>
                  <a:gd name="connsiteY10" fmla="*/ 259294 h 2243073"/>
                  <a:gd name="connsiteX11" fmla="*/ 406958 w 5933552"/>
                  <a:gd name="connsiteY11" fmla="*/ 229149 h 2243073"/>
                  <a:gd name="connsiteX12" fmla="*/ 406958 w 5933552"/>
                  <a:gd name="connsiteY12" fmla="*/ 204028 h 2243073"/>
                  <a:gd name="connsiteX13" fmla="*/ 462224 w 5933552"/>
                  <a:gd name="connsiteY13" fmla="*/ 193980 h 2243073"/>
                  <a:gd name="connsiteX14" fmla="*/ 864158 w 5933552"/>
                  <a:gd name="connsiteY14" fmla="*/ 143738 h 2243073"/>
                  <a:gd name="connsiteX15" fmla="*/ 999811 w 5933552"/>
                  <a:gd name="connsiteY15" fmla="*/ 88472 h 2243073"/>
                  <a:gd name="connsiteX16" fmla="*/ 1024932 w 5933552"/>
                  <a:gd name="connsiteY16" fmla="*/ 78424 h 2243073"/>
                  <a:gd name="connsiteX17" fmla="*/ 999811 w 5933552"/>
                  <a:gd name="connsiteY17" fmla="*/ 28182 h 2243073"/>
                  <a:gd name="connsiteX18" fmla="*/ 1070149 w 5933552"/>
                  <a:gd name="connsiteY18" fmla="*/ 33206 h 2243073"/>
                  <a:gd name="connsiteX19" fmla="*/ 1130439 w 5933552"/>
                  <a:gd name="connsiteY19" fmla="*/ 53303 h 2243073"/>
                  <a:gd name="connsiteX20" fmla="*/ 1160585 w 5933552"/>
                  <a:gd name="connsiteY20" fmla="*/ 63351 h 2243073"/>
                  <a:gd name="connsiteX21" fmla="*/ 1683099 w 5933552"/>
                  <a:gd name="connsiteY21" fmla="*/ 13109 h 2243073"/>
                  <a:gd name="connsiteX22" fmla="*/ 2306097 w 5933552"/>
                  <a:gd name="connsiteY22" fmla="*/ 3061 h 2243073"/>
                  <a:gd name="connsiteX23" fmla="*/ 3029578 w 5933552"/>
                  <a:gd name="connsiteY23" fmla="*/ 58327 h 2243073"/>
                  <a:gd name="connsiteX24" fmla="*/ 3135086 w 5933552"/>
                  <a:gd name="connsiteY24" fmla="*/ 78424 h 2243073"/>
                  <a:gd name="connsiteX25" fmla="*/ 3255666 w 5933552"/>
                  <a:gd name="connsiteY25" fmla="*/ 98520 h 2243073"/>
                  <a:gd name="connsiteX26" fmla="*/ 3542044 w 5933552"/>
                  <a:gd name="connsiteY26" fmla="*/ 183931 h 2243073"/>
                  <a:gd name="connsiteX27" fmla="*/ 3798277 w 5933552"/>
                  <a:gd name="connsiteY27" fmla="*/ 319584 h 2243073"/>
                  <a:gd name="connsiteX28" fmla="*/ 4210259 w 5933552"/>
                  <a:gd name="connsiteY28" fmla="*/ 545672 h 2243073"/>
                  <a:gd name="connsiteX29" fmla="*/ 4340888 w 5933552"/>
                  <a:gd name="connsiteY29" fmla="*/ 626059 h 2243073"/>
                  <a:gd name="connsiteX30" fmla="*/ 4381081 w 5933552"/>
                  <a:gd name="connsiteY30" fmla="*/ 656204 h 2243073"/>
                  <a:gd name="connsiteX31" fmla="*/ 4752870 w 5933552"/>
                  <a:gd name="connsiteY31" fmla="*/ 686349 h 2243073"/>
                  <a:gd name="connsiteX32" fmla="*/ 5164853 w 5933552"/>
                  <a:gd name="connsiteY32" fmla="*/ 761711 h 2243073"/>
                  <a:gd name="connsiteX33" fmla="*/ 5441182 w 5933552"/>
                  <a:gd name="connsiteY33" fmla="*/ 827026 h 2243073"/>
                  <a:gd name="connsiteX34" fmla="*/ 5612004 w 5933552"/>
                  <a:gd name="connsiteY34" fmla="*/ 902388 h 2243073"/>
                  <a:gd name="connsiteX35" fmla="*/ 5807947 w 5933552"/>
                  <a:gd name="connsiteY35" fmla="*/ 1048089 h 2243073"/>
                  <a:gd name="connsiteX36" fmla="*/ 5823020 w 5933552"/>
                  <a:gd name="connsiteY36" fmla="*/ 1118428 h 2243073"/>
                  <a:gd name="connsiteX37" fmla="*/ 5838092 w 5933552"/>
                  <a:gd name="connsiteY37" fmla="*/ 1218911 h 2243073"/>
                  <a:gd name="connsiteX38" fmla="*/ 5823020 w 5933552"/>
                  <a:gd name="connsiteY38" fmla="*/ 1249056 h 2243073"/>
                  <a:gd name="connsiteX39" fmla="*/ 5863213 w 5933552"/>
                  <a:gd name="connsiteY39" fmla="*/ 1299298 h 2243073"/>
                  <a:gd name="connsiteX40" fmla="*/ 5893358 w 5933552"/>
                  <a:gd name="connsiteY40" fmla="*/ 1359588 h 2243073"/>
                  <a:gd name="connsiteX41" fmla="*/ 5893358 w 5933552"/>
                  <a:gd name="connsiteY41" fmla="*/ 1434951 h 2243073"/>
                  <a:gd name="connsiteX42" fmla="*/ 5928527 w 5933552"/>
                  <a:gd name="connsiteY42" fmla="*/ 1495241 h 2243073"/>
                  <a:gd name="connsiteX43" fmla="*/ 5918479 w 5933552"/>
                  <a:gd name="connsiteY43" fmla="*/ 1605773 h 2243073"/>
                  <a:gd name="connsiteX44" fmla="*/ 5898382 w 5933552"/>
                  <a:gd name="connsiteY44" fmla="*/ 1686160 h 2243073"/>
                  <a:gd name="connsiteX45" fmla="*/ 5918479 w 5933552"/>
                  <a:gd name="connsiteY45" fmla="*/ 1776595 h 2243073"/>
                  <a:gd name="connsiteX46" fmla="*/ 5933552 w 5933552"/>
                  <a:gd name="connsiteY46" fmla="*/ 1811764 h 2243073"/>
                  <a:gd name="connsiteX47" fmla="*/ 5812971 w 5933552"/>
                  <a:gd name="connsiteY47" fmla="*/ 1872054 h 2243073"/>
                  <a:gd name="connsiteX48" fmla="*/ 5812971 w 5933552"/>
                  <a:gd name="connsiteY48" fmla="*/ 1872054 h 2243073"/>
                  <a:gd name="connsiteX49" fmla="*/ 5727560 w 5933552"/>
                  <a:gd name="connsiteY49" fmla="*/ 1932344 h 2243073"/>
                  <a:gd name="connsiteX50" fmla="*/ 5390941 w 5933552"/>
                  <a:gd name="connsiteY50" fmla="*/ 1937369 h 2243073"/>
                  <a:gd name="connsiteX51" fmla="*/ 5215670 w 5933552"/>
                  <a:gd name="connsiteY51" fmla="*/ 1935977 h 2243073"/>
                  <a:gd name="connsiteX52" fmla="*/ 4373414 w 5933552"/>
                  <a:gd name="connsiteY52" fmla="*/ 1917320 h 2243073"/>
                  <a:gd name="connsiteX53" fmla="*/ 1657301 w 5933552"/>
                  <a:gd name="connsiteY53" fmla="*/ 1891925 h 2243073"/>
                  <a:gd name="connsiteX54" fmla="*/ 507442 w 5933552"/>
                  <a:gd name="connsiteY54" fmla="*/ 1836885 h 2243073"/>
                  <a:gd name="connsiteX55" fmla="*/ 281354 w 5933552"/>
                  <a:gd name="connsiteY55" fmla="*/ 1836885 h 2243073"/>
                  <a:gd name="connsiteX56" fmla="*/ 130629 w 5933552"/>
                  <a:gd name="connsiteY56" fmla="*/ 1761522 h 2243073"/>
                  <a:gd name="connsiteX57" fmla="*/ 10048 w 5933552"/>
                  <a:gd name="connsiteY57" fmla="*/ 1681136 h 2243073"/>
                  <a:gd name="connsiteX58" fmla="*/ 0 w 5933552"/>
                  <a:gd name="connsiteY58" fmla="*/ 1540459 h 2243073"/>
                  <a:gd name="connsiteX59" fmla="*/ 15072 w 5933552"/>
                  <a:gd name="connsiteY59" fmla="*/ 1490217 h 2243073"/>
                  <a:gd name="connsiteX60" fmla="*/ 15072 w 5933552"/>
                  <a:gd name="connsiteY60" fmla="*/ 1434951 h 2243073"/>
                  <a:gd name="connsiteX61" fmla="*/ 25121 w 5933552"/>
                  <a:gd name="connsiteY61" fmla="*/ 1384709 h 2243073"/>
                  <a:gd name="connsiteX62" fmla="*/ 40193 w 5933552"/>
                  <a:gd name="connsiteY62" fmla="*/ 1359588 h 2243073"/>
                  <a:gd name="connsiteX63" fmla="*/ 65314 w 5933552"/>
                  <a:gd name="connsiteY63" fmla="*/ 1314371 h 2243073"/>
                  <a:gd name="connsiteX0" fmla="*/ 65314 w 5933552"/>
                  <a:gd name="connsiteY0" fmla="*/ 1314371 h 2215650"/>
                  <a:gd name="connsiteX1" fmla="*/ 75363 w 5933552"/>
                  <a:gd name="connsiteY1" fmla="*/ 1083259 h 2215650"/>
                  <a:gd name="connsiteX2" fmla="*/ 45218 w 5933552"/>
                  <a:gd name="connsiteY2" fmla="*/ 1073210 h 2215650"/>
                  <a:gd name="connsiteX3" fmla="*/ 95459 w 5933552"/>
                  <a:gd name="connsiteY3" fmla="*/ 887316 h 2215650"/>
                  <a:gd name="connsiteX4" fmla="*/ 80387 w 5933552"/>
                  <a:gd name="connsiteY4" fmla="*/ 771760 h 2215650"/>
                  <a:gd name="connsiteX5" fmla="*/ 85411 w 5933552"/>
                  <a:gd name="connsiteY5" fmla="*/ 716494 h 2215650"/>
                  <a:gd name="connsiteX6" fmla="*/ 105508 w 5933552"/>
                  <a:gd name="connsiteY6" fmla="*/ 696397 h 2215650"/>
                  <a:gd name="connsiteX7" fmla="*/ 135653 w 5933552"/>
                  <a:gd name="connsiteY7" fmla="*/ 676300 h 2215650"/>
                  <a:gd name="connsiteX8" fmla="*/ 467248 w 5933552"/>
                  <a:gd name="connsiteY8" fmla="*/ 329632 h 2215650"/>
                  <a:gd name="connsiteX9" fmla="*/ 472272 w 5933552"/>
                  <a:gd name="connsiteY9" fmla="*/ 284415 h 2215650"/>
                  <a:gd name="connsiteX10" fmla="*/ 442127 w 5933552"/>
                  <a:gd name="connsiteY10" fmla="*/ 259294 h 2215650"/>
                  <a:gd name="connsiteX11" fmla="*/ 406958 w 5933552"/>
                  <a:gd name="connsiteY11" fmla="*/ 229149 h 2215650"/>
                  <a:gd name="connsiteX12" fmla="*/ 406958 w 5933552"/>
                  <a:gd name="connsiteY12" fmla="*/ 204028 h 2215650"/>
                  <a:gd name="connsiteX13" fmla="*/ 462224 w 5933552"/>
                  <a:gd name="connsiteY13" fmla="*/ 193980 h 2215650"/>
                  <a:gd name="connsiteX14" fmla="*/ 864158 w 5933552"/>
                  <a:gd name="connsiteY14" fmla="*/ 143738 h 2215650"/>
                  <a:gd name="connsiteX15" fmla="*/ 999811 w 5933552"/>
                  <a:gd name="connsiteY15" fmla="*/ 88472 h 2215650"/>
                  <a:gd name="connsiteX16" fmla="*/ 1024932 w 5933552"/>
                  <a:gd name="connsiteY16" fmla="*/ 78424 h 2215650"/>
                  <a:gd name="connsiteX17" fmla="*/ 999811 w 5933552"/>
                  <a:gd name="connsiteY17" fmla="*/ 28182 h 2215650"/>
                  <a:gd name="connsiteX18" fmla="*/ 1070149 w 5933552"/>
                  <a:gd name="connsiteY18" fmla="*/ 33206 h 2215650"/>
                  <a:gd name="connsiteX19" fmla="*/ 1130439 w 5933552"/>
                  <a:gd name="connsiteY19" fmla="*/ 53303 h 2215650"/>
                  <a:gd name="connsiteX20" fmla="*/ 1160585 w 5933552"/>
                  <a:gd name="connsiteY20" fmla="*/ 63351 h 2215650"/>
                  <a:gd name="connsiteX21" fmla="*/ 1683099 w 5933552"/>
                  <a:gd name="connsiteY21" fmla="*/ 13109 h 2215650"/>
                  <a:gd name="connsiteX22" fmla="*/ 2306097 w 5933552"/>
                  <a:gd name="connsiteY22" fmla="*/ 3061 h 2215650"/>
                  <a:gd name="connsiteX23" fmla="*/ 3029578 w 5933552"/>
                  <a:gd name="connsiteY23" fmla="*/ 58327 h 2215650"/>
                  <a:gd name="connsiteX24" fmla="*/ 3135086 w 5933552"/>
                  <a:gd name="connsiteY24" fmla="*/ 78424 h 2215650"/>
                  <a:gd name="connsiteX25" fmla="*/ 3255666 w 5933552"/>
                  <a:gd name="connsiteY25" fmla="*/ 98520 h 2215650"/>
                  <a:gd name="connsiteX26" fmla="*/ 3542044 w 5933552"/>
                  <a:gd name="connsiteY26" fmla="*/ 183931 h 2215650"/>
                  <a:gd name="connsiteX27" fmla="*/ 3798277 w 5933552"/>
                  <a:gd name="connsiteY27" fmla="*/ 319584 h 2215650"/>
                  <a:gd name="connsiteX28" fmla="*/ 4210259 w 5933552"/>
                  <a:gd name="connsiteY28" fmla="*/ 545672 h 2215650"/>
                  <a:gd name="connsiteX29" fmla="*/ 4340888 w 5933552"/>
                  <a:gd name="connsiteY29" fmla="*/ 626059 h 2215650"/>
                  <a:gd name="connsiteX30" fmla="*/ 4381081 w 5933552"/>
                  <a:gd name="connsiteY30" fmla="*/ 656204 h 2215650"/>
                  <a:gd name="connsiteX31" fmla="*/ 4752870 w 5933552"/>
                  <a:gd name="connsiteY31" fmla="*/ 686349 h 2215650"/>
                  <a:gd name="connsiteX32" fmla="*/ 5164853 w 5933552"/>
                  <a:gd name="connsiteY32" fmla="*/ 761711 h 2215650"/>
                  <a:gd name="connsiteX33" fmla="*/ 5441182 w 5933552"/>
                  <a:gd name="connsiteY33" fmla="*/ 827026 h 2215650"/>
                  <a:gd name="connsiteX34" fmla="*/ 5612004 w 5933552"/>
                  <a:gd name="connsiteY34" fmla="*/ 902388 h 2215650"/>
                  <a:gd name="connsiteX35" fmla="*/ 5807947 w 5933552"/>
                  <a:gd name="connsiteY35" fmla="*/ 1048089 h 2215650"/>
                  <a:gd name="connsiteX36" fmla="*/ 5823020 w 5933552"/>
                  <a:gd name="connsiteY36" fmla="*/ 1118428 h 2215650"/>
                  <a:gd name="connsiteX37" fmla="*/ 5838092 w 5933552"/>
                  <a:gd name="connsiteY37" fmla="*/ 1218911 h 2215650"/>
                  <a:gd name="connsiteX38" fmla="*/ 5823020 w 5933552"/>
                  <a:gd name="connsiteY38" fmla="*/ 1249056 h 2215650"/>
                  <a:gd name="connsiteX39" fmla="*/ 5863213 w 5933552"/>
                  <a:gd name="connsiteY39" fmla="*/ 1299298 h 2215650"/>
                  <a:gd name="connsiteX40" fmla="*/ 5893358 w 5933552"/>
                  <a:gd name="connsiteY40" fmla="*/ 1359588 h 2215650"/>
                  <a:gd name="connsiteX41" fmla="*/ 5893358 w 5933552"/>
                  <a:gd name="connsiteY41" fmla="*/ 1434951 h 2215650"/>
                  <a:gd name="connsiteX42" fmla="*/ 5928527 w 5933552"/>
                  <a:gd name="connsiteY42" fmla="*/ 1495241 h 2215650"/>
                  <a:gd name="connsiteX43" fmla="*/ 5918479 w 5933552"/>
                  <a:gd name="connsiteY43" fmla="*/ 1605773 h 2215650"/>
                  <a:gd name="connsiteX44" fmla="*/ 5898382 w 5933552"/>
                  <a:gd name="connsiteY44" fmla="*/ 1686160 h 2215650"/>
                  <a:gd name="connsiteX45" fmla="*/ 5918479 w 5933552"/>
                  <a:gd name="connsiteY45" fmla="*/ 1776595 h 2215650"/>
                  <a:gd name="connsiteX46" fmla="*/ 5933552 w 5933552"/>
                  <a:gd name="connsiteY46" fmla="*/ 1811764 h 2215650"/>
                  <a:gd name="connsiteX47" fmla="*/ 5812971 w 5933552"/>
                  <a:gd name="connsiteY47" fmla="*/ 1872054 h 2215650"/>
                  <a:gd name="connsiteX48" fmla="*/ 5812971 w 5933552"/>
                  <a:gd name="connsiteY48" fmla="*/ 1872054 h 2215650"/>
                  <a:gd name="connsiteX49" fmla="*/ 5727560 w 5933552"/>
                  <a:gd name="connsiteY49" fmla="*/ 1932344 h 2215650"/>
                  <a:gd name="connsiteX50" fmla="*/ 5390941 w 5933552"/>
                  <a:gd name="connsiteY50" fmla="*/ 1937369 h 2215650"/>
                  <a:gd name="connsiteX51" fmla="*/ 5215670 w 5933552"/>
                  <a:gd name="connsiteY51" fmla="*/ 1935977 h 2215650"/>
                  <a:gd name="connsiteX52" fmla="*/ 4373414 w 5933552"/>
                  <a:gd name="connsiteY52" fmla="*/ 1917320 h 2215650"/>
                  <a:gd name="connsiteX53" fmla="*/ 1657301 w 5933552"/>
                  <a:gd name="connsiteY53" fmla="*/ 1891925 h 2215650"/>
                  <a:gd name="connsiteX54" fmla="*/ 507442 w 5933552"/>
                  <a:gd name="connsiteY54" fmla="*/ 1836885 h 2215650"/>
                  <a:gd name="connsiteX55" fmla="*/ 281354 w 5933552"/>
                  <a:gd name="connsiteY55" fmla="*/ 1836885 h 2215650"/>
                  <a:gd name="connsiteX56" fmla="*/ 130629 w 5933552"/>
                  <a:gd name="connsiteY56" fmla="*/ 1761522 h 2215650"/>
                  <a:gd name="connsiteX57" fmla="*/ 10048 w 5933552"/>
                  <a:gd name="connsiteY57" fmla="*/ 1681136 h 2215650"/>
                  <a:gd name="connsiteX58" fmla="*/ 0 w 5933552"/>
                  <a:gd name="connsiteY58" fmla="*/ 1540459 h 2215650"/>
                  <a:gd name="connsiteX59" fmla="*/ 15072 w 5933552"/>
                  <a:gd name="connsiteY59" fmla="*/ 1490217 h 2215650"/>
                  <a:gd name="connsiteX60" fmla="*/ 15072 w 5933552"/>
                  <a:gd name="connsiteY60" fmla="*/ 1434951 h 2215650"/>
                  <a:gd name="connsiteX61" fmla="*/ 25121 w 5933552"/>
                  <a:gd name="connsiteY61" fmla="*/ 1384709 h 2215650"/>
                  <a:gd name="connsiteX62" fmla="*/ 40193 w 5933552"/>
                  <a:gd name="connsiteY62" fmla="*/ 1359588 h 2215650"/>
                  <a:gd name="connsiteX63" fmla="*/ 65314 w 5933552"/>
                  <a:gd name="connsiteY63" fmla="*/ 1314371 h 2215650"/>
                  <a:gd name="connsiteX0" fmla="*/ 65314 w 5933552"/>
                  <a:gd name="connsiteY0" fmla="*/ 1314371 h 2215650"/>
                  <a:gd name="connsiteX1" fmla="*/ 75363 w 5933552"/>
                  <a:gd name="connsiteY1" fmla="*/ 1083259 h 2215650"/>
                  <a:gd name="connsiteX2" fmla="*/ 45218 w 5933552"/>
                  <a:gd name="connsiteY2" fmla="*/ 1073210 h 2215650"/>
                  <a:gd name="connsiteX3" fmla="*/ 95459 w 5933552"/>
                  <a:gd name="connsiteY3" fmla="*/ 887316 h 2215650"/>
                  <a:gd name="connsiteX4" fmla="*/ 80387 w 5933552"/>
                  <a:gd name="connsiteY4" fmla="*/ 771760 h 2215650"/>
                  <a:gd name="connsiteX5" fmla="*/ 85411 w 5933552"/>
                  <a:gd name="connsiteY5" fmla="*/ 716494 h 2215650"/>
                  <a:gd name="connsiteX6" fmla="*/ 105508 w 5933552"/>
                  <a:gd name="connsiteY6" fmla="*/ 696397 h 2215650"/>
                  <a:gd name="connsiteX7" fmla="*/ 135653 w 5933552"/>
                  <a:gd name="connsiteY7" fmla="*/ 676300 h 2215650"/>
                  <a:gd name="connsiteX8" fmla="*/ 467248 w 5933552"/>
                  <a:gd name="connsiteY8" fmla="*/ 329632 h 2215650"/>
                  <a:gd name="connsiteX9" fmla="*/ 472272 w 5933552"/>
                  <a:gd name="connsiteY9" fmla="*/ 284415 h 2215650"/>
                  <a:gd name="connsiteX10" fmla="*/ 442127 w 5933552"/>
                  <a:gd name="connsiteY10" fmla="*/ 259294 h 2215650"/>
                  <a:gd name="connsiteX11" fmla="*/ 406958 w 5933552"/>
                  <a:gd name="connsiteY11" fmla="*/ 229149 h 2215650"/>
                  <a:gd name="connsiteX12" fmla="*/ 406958 w 5933552"/>
                  <a:gd name="connsiteY12" fmla="*/ 204028 h 2215650"/>
                  <a:gd name="connsiteX13" fmla="*/ 462224 w 5933552"/>
                  <a:gd name="connsiteY13" fmla="*/ 193980 h 2215650"/>
                  <a:gd name="connsiteX14" fmla="*/ 864158 w 5933552"/>
                  <a:gd name="connsiteY14" fmla="*/ 143738 h 2215650"/>
                  <a:gd name="connsiteX15" fmla="*/ 999811 w 5933552"/>
                  <a:gd name="connsiteY15" fmla="*/ 88472 h 2215650"/>
                  <a:gd name="connsiteX16" fmla="*/ 1024932 w 5933552"/>
                  <a:gd name="connsiteY16" fmla="*/ 78424 h 2215650"/>
                  <a:gd name="connsiteX17" fmla="*/ 999811 w 5933552"/>
                  <a:gd name="connsiteY17" fmla="*/ 28182 h 2215650"/>
                  <a:gd name="connsiteX18" fmla="*/ 1070149 w 5933552"/>
                  <a:gd name="connsiteY18" fmla="*/ 33206 h 2215650"/>
                  <a:gd name="connsiteX19" fmla="*/ 1130439 w 5933552"/>
                  <a:gd name="connsiteY19" fmla="*/ 53303 h 2215650"/>
                  <a:gd name="connsiteX20" fmla="*/ 1160585 w 5933552"/>
                  <a:gd name="connsiteY20" fmla="*/ 63351 h 2215650"/>
                  <a:gd name="connsiteX21" fmla="*/ 1683099 w 5933552"/>
                  <a:gd name="connsiteY21" fmla="*/ 13109 h 2215650"/>
                  <a:gd name="connsiteX22" fmla="*/ 2306097 w 5933552"/>
                  <a:gd name="connsiteY22" fmla="*/ 3061 h 2215650"/>
                  <a:gd name="connsiteX23" fmla="*/ 3029578 w 5933552"/>
                  <a:gd name="connsiteY23" fmla="*/ 58327 h 2215650"/>
                  <a:gd name="connsiteX24" fmla="*/ 3135086 w 5933552"/>
                  <a:gd name="connsiteY24" fmla="*/ 78424 h 2215650"/>
                  <a:gd name="connsiteX25" fmla="*/ 3255666 w 5933552"/>
                  <a:gd name="connsiteY25" fmla="*/ 98520 h 2215650"/>
                  <a:gd name="connsiteX26" fmla="*/ 3542044 w 5933552"/>
                  <a:gd name="connsiteY26" fmla="*/ 183931 h 2215650"/>
                  <a:gd name="connsiteX27" fmla="*/ 3798277 w 5933552"/>
                  <a:gd name="connsiteY27" fmla="*/ 319584 h 2215650"/>
                  <a:gd name="connsiteX28" fmla="*/ 4210259 w 5933552"/>
                  <a:gd name="connsiteY28" fmla="*/ 545672 h 2215650"/>
                  <a:gd name="connsiteX29" fmla="*/ 4340888 w 5933552"/>
                  <a:gd name="connsiteY29" fmla="*/ 626059 h 2215650"/>
                  <a:gd name="connsiteX30" fmla="*/ 4381081 w 5933552"/>
                  <a:gd name="connsiteY30" fmla="*/ 656204 h 2215650"/>
                  <a:gd name="connsiteX31" fmla="*/ 4752870 w 5933552"/>
                  <a:gd name="connsiteY31" fmla="*/ 686349 h 2215650"/>
                  <a:gd name="connsiteX32" fmla="*/ 5164853 w 5933552"/>
                  <a:gd name="connsiteY32" fmla="*/ 761711 h 2215650"/>
                  <a:gd name="connsiteX33" fmla="*/ 5441182 w 5933552"/>
                  <a:gd name="connsiteY33" fmla="*/ 827026 h 2215650"/>
                  <a:gd name="connsiteX34" fmla="*/ 5612004 w 5933552"/>
                  <a:gd name="connsiteY34" fmla="*/ 902388 h 2215650"/>
                  <a:gd name="connsiteX35" fmla="*/ 5807947 w 5933552"/>
                  <a:gd name="connsiteY35" fmla="*/ 1048089 h 2215650"/>
                  <a:gd name="connsiteX36" fmla="*/ 5823020 w 5933552"/>
                  <a:gd name="connsiteY36" fmla="*/ 1118428 h 2215650"/>
                  <a:gd name="connsiteX37" fmla="*/ 5838092 w 5933552"/>
                  <a:gd name="connsiteY37" fmla="*/ 1218911 h 2215650"/>
                  <a:gd name="connsiteX38" fmla="*/ 5823020 w 5933552"/>
                  <a:gd name="connsiteY38" fmla="*/ 1249056 h 2215650"/>
                  <a:gd name="connsiteX39" fmla="*/ 5863213 w 5933552"/>
                  <a:gd name="connsiteY39" fmla="*/ 1299298 h 2215650"/>
                  <a:gd name="connsiteX40" fmla="*/ 5893358 w 5933552"/>
                  <a:gd name="connsiteY40" fmla="*/ 1359588 h 2215650"/>
                  <a:gd name="connsiteX41" fmla="*/ 5893358 w 5933552"/>
                  <a:gd name="connsiteY41" fmla="*/ 1434951 h 2215650"/>
                  <a:gd name="connsiteX42" fmla="*/ 5928527 w 5933552"/>
                  <a:gd name="connsiteY42" fmla="*/ 1495241 h 2215650"/>
                  <a:gd name="connsiteX43" fmla="*/ 5918479 w 5933552"/>
                  <a:gd name="connsiteY43" fmla="*/ 1605773 h 2215650"/>
                  <a:gd name="connsiteX44" fmla="*/ 5898382 w 5933552"/>
                  <a:gd name="connsiteY44" fmla="*/ 1686160 h 2215650"/>
                  <a:gd name="connsiteX45" fmla="*/ 5918479 w 5933552"/>
                  <a:gd name="connsiteY45" fmla="*/ 1776595 h 2215650"/>
                  <a:gd name="connsiteX46" fmla="*/ 5933552 w 5933552"/>
                  <a:gd name="connsiteY46" fmla="*/ 1811764 h 2215650"/>
                  <a:gd name="connsiteX47" fmla="*/ 5812971 w 5933552"/>
                  <a:gd name="connsiteY47" fmla="*/ 1872054 h 2215650"/>
                  <a:gd name="connsiteX48" fmla="*/ 5812971 w 5933552"/>
                  <a:gd name="connsiteY48" fmla="*/ 1872054 h 2215650"/>
                  <a:gd name="connsiteX49" fmla="*/ 5727560 w 5933552"/>
                  <a:gd name="connsiteY49" fmla="*/ 1932344 h 2215650"/>
                  <a:gd name="connsiteX50" fmla="*/ 5390941 w 5933552"/>
                  <a:gd name="connsiteY50" fmla="*/ 1937369 h 2215650"/>
                  <a:gd name="connsiteX51" fmla="*/ 5215670 w 5933552"/>
                  <a:gd name="connsiteY51" fmla="*/ 1935977 h 2215650"/>
                  <a:gd name="connsiteX52" fmla="*/ 4373414 w 5933552"/>
                  <a:gd name="connsiteY52" fmla="*/ 1917320 h 2215650"/>
                  <a:gd name="connsiteX53" fmla="*/ 1657301 w 5933552"/>
                  <a:gd name="connsiteY53" fmla="*/ 1891925 h 2215650"/>
                  <a:gd name="connsiteX54" fmla="*/ 507442 w 5933552"/>
                  <a:gd name="connsiteY54" fmla="*/ 1836885 h 2215650"/>
                  <a:gd name="connsiteX55" fmla="*/ 281354 w 5933552"/>
                  <a:gd name="connsiteY55" fmla="*/ 1836885 h 2215650"/>
                  <a:gd name="connsiteX56" fmla="*/ 130629 w 5933552"/>
                  <a:gd name="connsiteY56" fmla="*/ 1761522 h 2215650"/>
                  <a:gd name="connsiteX57" fmla="*/ 10048 w 5933552"/>
                  <a:gd name="connsiteY57" fmla="*/ 1681136 h 2215650"/>
                  <a:gd name="connsiteX58" fmla="*/ 0 w 5933552"/>
                  <a:gd name="connsiteY58" fmla="*/ 1540459 h 2215650"/>
                  <a:gd name="connsiteX59" fmla="*/ 15072 w 5933552"/>
                  <a:gd name="connsiteY59" fmla="*/ 1490217 h 2215650"/>
                  <a:gd name="connsiteX60" fmla="*/ 15072 w 5933552"/>
                  <a:gd name="connsiteY60" fmla="*/ 1434951 h 2215650"/>
                  <a:gd name="connsiteX61" fmla="*/ 25121 w 5933552"/>
                  <a:gd name="connsiteY61" fmla="*/ 1384709 h 2215650"/>
                  <a:gd name="connsiteX62" fmla="*/ 40193 w 5933552"/>
                  <a:gd name="connsiteY62" fmla="*/ 1359588 h 2215650"/>
                  <a:gd name="connsiteX63" fmla="*/ 65314 w 5933552"/>
                  <a:gd name="connsiteY63" fmla="*/ 1314371 h 2215650"/>
                  <a:gd name="connsiteX0" fmla="*/ 65314 w 5933552"/>
                  <a:gd name="connsiteY0" fmla="*/ 1314371 h 2219849"/>
                  <a:gd name="connsiteX1" fmla="*/ 75363 w 5933552"/>
                  <a:gd name="connsiteY1" fmla="*/ 1083259 h 2219849"/>
                  <a:gd name="connsiteX2" fmla="*/ 45218 w 5933552"/>
                  <a:gd name="connsiteY2" fmla="*/ 1073210 h 2219849"/>
                  <a:gd name="connsiteX3" fmla="*/ 95459 w 5933552"/>
                  <a:gd name="connsiteY3" fmla="*/ 887316 h 2219849"/>
                  <a:gd name="connsiteX4" fmla="*/ 80387 w 5933552"/>
                  <a:gd name="connsiteY4" fmla="*/ 771760 h 2219849"/>
                  <a:gd name="connsiteX5" fmla="*/ 85411 w 5933552"/>
                  <a:gd name="connsiteY5" fmla="*/ 716494 h 2219849"/>
                  <a:gd name="connsiteX6" fmla="*/ 105508 w 5933552"/>
                  <a:gd name="connsiteY6" fmla="*/ 696397 h 2219849"/>
                  <a:gd name="connsiteX7" fmla="*/ 135653 w 5933552"/>
                  <a:gd name="connsiteY7" fmla="*/ 676300 h 2219849"/>
                  <a:gd name="connsiteX8" fmla="*/ 467248 w 5933552"/>
                  <a:gd name="connsiteY8" fmla="*/ 329632 h 2219849"/>
                  <a:gd name="connsiteX9" fmla="*/ 472272 w 5933552"/>
                  <a:gd name="connsiteY9" fmla="*/ 284415 h 2219849"/>
                  <a:gd name="connsiteX10" fmla="*/ 442127 w 5933552"/>
                  <a:gd name="connsiteY10" fmla="*/ 259294 h 2219849"/>
                  <a:gd name="connsiteX11" fmla="*/ 406958 w 5933552"/>
                  <a:gd name="connsiteY11" fmla="*/ 229149 h 2219849"/>
                  <a:gd name="connsiteX12" fmla="*/ 406958 w 5933552"/>
                  <a:gd name="connsiteY12" fmla="*/ 204028 h 2219849"/>
                  <a:gd name="connsiteX13" fmla="*/ 462224 w 5933552"/>
                  <a:gd name="connsiteY13" fmla="*/ 193980 h 2219849"/>
                  <a:gd name="connsiteX14" fmla="*/ 864158 w 5933552"/>
                  <a:gd name="connsiteY14" fmla="*/ 143738 h 2219849"/>
                  <a:gd name="connsiteX15" fmla="*/ 999811 w 5933552"/>
                  <a:gd name="connsiteY15" fmla="*/ 88472 h 2219849"/>
                  <a:gd name="connsiteX16" fmla="*/ 1024932 w 5933552"/>
                  <a:gd name="connsiteY16" fmla="*/ 78424 h 2219849"/>
                  <a:gd name="connsiteX17" fmla="*/ 999811 w 5933552"/>
                  <a:gd name="connsiteY17" fmla="*/ 28182 h 2219849"/>
                  <a:gd name="connsiteX18" fmla="*/ 1070149 w 5933552"/>
                  <a:gd name="connsiteY18" fmla="*/ 33206 h 2219849"/>
                  <a:gd name="connsiteX19" fmla="*/ 1130439 w 5933552"/>
                  <a:gd name="connsiteY19" fmla="*/ 53303 h 2219849"/>
                  <a:gd name="connsiteX20" fmla="*/ 1160585 w 5933552"/>
                  <a:gd name="connsiteY20" fmla="*/ 63351 h 2219849"/>
                  <a:gd name="connsiteX21" fmla="*/ 1683099 w 5933552"/>
                  <a:gd name="connsiteY21" fmla="*/ 13109 h 2219849"/>
                  <a:gd name="connsiteX22" fmla="*/ 2306097 w 5933552"/>
                  <a:gd name="connsiteY22" fmla="*/ 3061 h 2219849"/>
                  <a:gd name="connsiteX23" fmla="*/ 3029578 w 5933552"/>
                  <a:gd name="connsiteY23" fmla="*/ 58327 h 2219849"/>
                  <a:gd name="connsiteX24" fmla="*/ 3135086 w 5933552"/>
                  <a:gd name="connsiteY24" fmla="*/ 78424 h 2219849"/>
                  <a:gd name="connsiteX25" fmla="*/ 3255666 w 5933552"/>
                  <a:gd name="connsiteY25" fmla="*/ 98520 h 2219849"/>
                  <a:gd name="connsiteX26" fmla="*/ 3542044 w 5933552"/>
                  <a:gd name="connsiteY26" fmla="*/ 183931 h 2219849"/>
                  <a:gd name="connsiteX27" fmla="*/ 3798277 w 5933552"/>
                  <a:gd name="connsiteY27" fmla="*/ 319584 h 2219849"/>
                  <a:gd name="connsiteX28" fmla="*/ 4210259 w 5933552"/>
                  <a:gd name="connsiteY28" fmla="*/ 545672 h 2219849"/>
                  <a:gd name="connsiteX29" fmla="*/ 4340888 w 5933552"/>
                  <a:gd name="connsiteY29" fmla="*/ 626059 h 2219849"/>
                  <a:gd name="connsiteX30" fmla="*/ 4381081 w 5933552"/>
                  <a:gd name="connsiteY30" fmla="*/ 656204 h 2219849"/>
                  <a:gd name="connsiteX31" fmla="*/ 4752870 w 5933552"/>
                  <a:gd name="connsiteY31" fmla="*/ 686349 h 2219849"/>
                  <a:gd name="connsiteX32" fmla="*/ 5164853 w 5933552"/>
                  <a:gd name="connsiteY32" fmla="*/ 761711 h 2219849"/>
                  <a:gd name="connsiteX33" fmla="*/ 5441182 w 5933552"/>
                  <a:gd name="connsiteY33" fmla="*/ 827026 h 2219849"/>
                  <a:gd name="connsiteX34" fmla="*/ 5612004 w 5933552"/>
                  <a:gd name="connsiteY34" fmla="*/ 902388 h 2219849"/>
                  <a:gd name="connsiteX35" fmla="*/ 5807947 w 5933552"/>
                  <a:gd name="connsiteY35" fmla="*/ 1048089 h 2219849"/>
                  <a:gd name="connsiteX36" fmla="*/ 5823020 w 5933552"/>
                  <a:gd name="connsiteY36" fmla="*/ 1118428 h 2219849"/>
                  <a:gd name="connsiteX37" fmla="*/ 5838092 w 5933552"/>
                  <a:gd name="connsiteY37" fmla="*/ 1218911 h 2219849"/>
                  <a:gd name="connsiteX38" fmla="*/ 5823020 w 5933552"/>
                  <a:gd name="connsiteY38" fmla="*/ 1249056 h 2219849"/>
                  <a:gd name="connsiteX39" fmla="*/ 5863213 w 5933552"/>
                  <a:gd name="connsiteY39" fmla="*/ 1299298 h 2219849"/>
                  <a:gd name="connsiteX40" fmla="*/ 5893358 w 5933552"/>
                  <a:gd name="connsiteY40" fmla="*/ 1359588 h 2219849"/>
                  <a:gd name="connsiteX41" fmla="*/ 5893358 w 5933552"/>
                  <a:gd name="connsiteY41" fmla="*/ 1434951 h 2219849"/>
                  <a:gd name="connsiteX42" fmla="*/ 5928527 w 5933552"/>
                  <a:gd name="connsiteY42" fmla="*/ 1495241 h 2219849"/>
                  <a:gd name="connsiteX43" fmla="*/ 5918479 w 5933552"/>
                  <a:gd name="connsiteY43" fmla="*/ 1605773 h 2219849"/>
                  <a:gd name="connsiteX44" fmla="*/ 5898382 w 5933552"/>
                  <a:gd name="connsiteY44" fmla="*/ 1686160 h 2219849"/>
                  <a:gd name="connsiteX45" fmla="*/ 5918479 w 5933552"/>
                  <a:gd name="connsiteY45" fmla="*/ 1776595 h 2219849"/>
                  <a:gd name="connsiteX46" fmla="*/ 5933552 w 5933552"/>
                  <a:gd name="connsiteY46" fmla="*/ 1811764 h 2219849"/>
                  <a:gd name="connsiteX47" fmla="*/ 5812971 w 5933552"/>
                  <a:gd name="connsiteY47" fmla="*/ 1872054 h 2219849"/>
                  <a:gd name="connsiteX48" fmla="*/ 5812971 w 5933552"/>
                  <a:gd name="connsiteY48" fmla="*/ 1872054 h 2219849"/>
                  <a:gd name="connsiteX49" fmla="*/ 5727560 w 5933552"/>
                  <a:gd name="connsiteY49" fmla="*/ 1932344 h 2219849"/>
                  <a:gd name="connsiteX50" fmla="*/ 5390941 w 5933552"/>
                  <a:gd name="connsiteY50" fmla="*/ 1937369 h 2219849"/>
                  <a:gd name="connsiteX51" fmla="*/ 5215670 w 5933552"/>
                  <a:gd name="connsiteY51" fmla="*/ 1935977 h 2219849"/>
                  <a:gd name="connsiteX52" fmla="*/ 4373414 w 5933552"/>
                  <a:gd name="connsiteY52" fmla="*/ 1917320 h 2219849"/>
                  <a:gd name="connsiteX53" fmla="*/ 1657301 w 5933552"/>
                  <a:gd name="connsiteY53" fmla="*/ 1891925 h 2219849"/>
                  <a:gd name="connsiteX54" fmla="*/ 507442 w 5933552"/>
                  <a:gd name="connsiteY54" fmla="*/ 1836885 h 2219849"/>
                  <a:gd name="connsiteX55" fmla="*/ 281354 w 5933552"/>
                  <a:gd name="connsiteY55" fmla="*/ 1836885 h 2219849"/>
                  <a:gd name="connsiteX56" fmla="*/ 130629 w 5933552"/>
                  <a:gd name="connsiteY56" fmla="*/ 1761522 h 2219849"/>
                  <a:gd name="connsiteX57" fmla="*/ 10048 w 5933552"/>
                  <a:gd name="connsiteY57" fmla="*/ 1681136 h 2219849"/>
                  <a:gd name="connsiteX58" fmla="*/ 0 w 5933552"/>
                  <a:gd name="connsiteY58" fmla="*/ 1540459 h 2219849"/>
                  <a:gd name="connsiteX59" fmla="*/ 15072 w 5933552"/>
                  <a:gd name="connsiteY59" fmla="*/ 1490217 h 2219849"/>
                  <a:gd name="connsiteX60" fmla="*/ 15072 w 5933552"/>
                  <a:gd name="connsiteY60" fmla="*/ 1434951 h 2219849"/>
                  <a:gd name="connsiteX61" fmla="*/ 25121 w 5933552"/>
                  <a:gd name="connsiteY61" fmla="*/ 1384709 h 2219849"/>
                  <a:gd name="connsiteX62" fmla="*/ 40193 w 5933552"/>
                  <a:gd name="connsiteY62" fmla="*/ 1359588 h 2219849"/>
                  <a:gd name="connsiteX63" fmla="*/ 65314 w 5933552"/>
                  <a:gd name="connsiteY63" fmla="*/ 1314371 h 2219849"/>
                  <a:gd name="connsiteX0" fmla="*/ 65314 w 5933552"/>
                  <a:gd name="connsiteY0" fmla="*/ 1314371 h 2230378"/>
                  <a:gd name="connsiteX1" fmla="*/ 75363 w 5933552"/>
                  <a:gd name="connsiteY1" fmla="*/ 1083259 h 2230378"/>
                  <a:gd name="connsiteX2" fmla="*/ 45218 w 5933552"/>
                  <a:gd name="connsiteY2" fmla="*/ 1073210 h 2230378"/>
                  <a:gd name="connsiteX3" fmla="*/ 95459 w 5933552"/>
                  <a:gd name="connsiteY3" fmla="*/ 887316 h 2230378"/>
                  <a:gd name="connsiteX4" fmla="*/ 80387 w 5933552"/>
                  <a:gd name="connsiteY4" fmla="*/ 771760 h 2230378"/>
                  <a:gd name="connsiteX5" fmla="*/ 85411 w 5933552"/>
                  <a:gd name="connsiteY5" fmla="*/ 716494 h 2230378"/>
                  <a:gd name="connsiteX6" fmla="*/ 105508 w 5933552"/>
                  <a:gd name="connsiteY6" fmla="*/ 696397 h 2230378"/>
                  <a:gd name="connsiteX7" fmla="*/ 135653 w 5933552"/>
                  <a:gd name="connsiteY7" fmla="*/ 676300 h 2230378"/>
                  <a:gd name="connsiteX8" fmla="*/ 467248 w 5933552"/>
                  <a:gd name="connsiteY8" fmla="*/ 329632 h 2230378"/>
                  <a:gd name="connsiteX9" fmla="*/ 472272 w 5933552"/>
                  <a:gd name="connsiteY9" fmla="*/ 284415 h 2230378"/>
                  <a:gd name="connsiteX10" fmla="*/ 442127 w 5933552"/>
                  <a:gd name="connsiteY10" fmla="*/ 259294 h 2230378"/>
                  <a:gd name="connsiteX11" fmla="*/ 406958 w 5933552"/>
                  <a:gd name="connsiteY11" fmla="*/ 229149 h 2230378"/>
                  <a:gd name="connsiteX12" fmla="*/ 406958 w 5933552"/>
                  <a:gd name="connsiteY12" fmla="*/ 204028 h 2230378"/>
                  <a:gd name="connsiteX13" fmla="*/ 462224 w 5933552"/>
                  <a:gd name="connsiteY13" fmla="*/ 193980 h 2230378"/>
                  <a:gd name="connsiteX14" fmla="*/ 864158 w 5933552"/>
                  <a:gd name="connsiteY14" fmla="*/ 143738 h 2230378"/>
                  <a:gd name="connsiteX15" fmla="*/ 999811 w 5933552"/>
                  <a:gd name="connsiteY15" fmla="*/ 88472 h 2230378"/>
                  <a:gd name="connsiteX16" fmla="*/ 1024932 w 5933552"/>
                  <a:gd name="connsiteY16" fmla="*/ 78424 h 2230378"/>
                  <a:gd name="connsiteX17" fmla="*/ 999811 w 5933552"/>
                  <a:gd name="connsiteY17" fmla="*/ 28182 h 2230378"/>
                  <a:gd name="connsiteX18" fmla="*/ 1070149 w 5933552"/>
                  <a:gd name="connsiteY18" fmla="*/ 33206 h 2230378"/>
                  <a:gd name="connsiteX19" fmla="*/ 1130439 w 5933552"/>
                  <a:gd name="connsiteY19" fmla="*/ 53303 h 2230378"/>
                  <a:gd name="connsiteX20" fmla="*/ 1160585 w 5933552"/>
                  <a:gd name="connsiteY20" fmla="*/ 63351 h 2230378"/>
                  <a:gd name="connsiteX21" fmla="*/ 1683099 w 5933552"/>
                  <a:gd name="connsiteY21" fmla="*/ 13109 h 2230378"/>
                  <a:gd name="connsiteX22" fmla="*/ 2306097 w 5933552"/>
                  <a:gd name="connsiteY22" fmla="*/ 3061 h 2230378"/>
                  <a:gd name="connsiteX23" fmla="*/ 3029578 w 5933552"/>
                  <a:gd name="connsiteY23" fmla="*/ 58327 h 2230378"/>
                  <a:gd name="connsiteX24" fmla="*/ 3135086 w 5933552"/>
                  <a:gd name="connsiteY24" fmla="*/ 78424 h 2230378"/>
                  <a:gd name="connsiteX25" fmla="*/ 3255666 w 5933552"/>
                  <a:gd name="connsiteY25" fmla="*/ 98520 h 2230378"/>
                  <a:gd name="connsiteX26" fmla="*/ 3542044 w 5933552"/>
                  <a:gd name="connsiteY26" fmla="*/ 183931 h 2230378"/>
                  <a:gd name="connsiteX27" fmla="*/ 3798277 w 5933552"/>
                  <a:gd name="connsiteY27" fmla="*/ 319584 h 2230378"/>
                  <a:gd name="connsiteX28" fmla="*/ 4210259 w 5933552"/>
                  <a:gd name="connsiteY28" fmla="*/ 545672 h 2230378"/>
                  <a:gd name="connsiteX29" fmla="*/ 4340888 w 5933552"/>
                  <a:gd name="connsiteY29" fmla="*/ 626059 h 2230378"/>
                  <a:gd name="connsiteX30" fmla="*/ 4381081 w 5933552"/>
                  <a:gd name="connsiteY30" fmla="*/ 656204 h 2230378"/>
                  <a:gd name="connsiteX31" fmla="*/ 4752870 w 5933552"/>
                  <a:gd name="connsiteY31" fmla="*/ 686349 h 2230378"/>
                  <a:gd name="connsiteX32" fmla="*/ 5164853 w 5933552"/>
                  <a:gd name="connsiteY32" fmla="*/ 761711 h 2230378"/>
                  <a:gd name="connsiteX33" fmla="*/ 5441182 w 5933552"/>
                  <a:gd name="connsiteY33" fmla="*/ 827026 h 2230378"/>
                  <a:gd name="connsiteX34" fmla="*/ 5612004 w 5933552"/>
                  <a:gd name="connsiteY34" fmla="*/ 902388 h 2230378"/>
                  <a:gd name="connsiteX35" fmla="*/ 5807947 w 5933552"/>
                  <a:gd name="connsiteY35" fmla="*/ 1048089 h 2230378"/>
                  <a:gd name="connsiteX36" fmla="*/ 5823020 w 5933552"/>
                  <a:gd name="connsiteY36" fmla="*/ 1118428 h 2230378"/>
                  <a:gd name="connsiteX37" fmla="*/ 5838092 w 5933552"/>
                  <a:gd name="connsiteY37" fmla="*/ 1218911 h 2230378"/>
                  <a:gd name="connsiteX38" fmla="*/ 5823020 w 5933552"/>
                  <a:gd name="connsiteY38" fmla="*/ 1249056 h 2230378"/>
                  <a:gd name="connsiteX39" fmla="*/ 5863213 w 5933552"/>
                  <a:gd name="connsiteY39" fmla="*/ 1299298 h 2230378"/>
                  <a:gd name="connsiteX40" fmla="*/ 5893358 w 5933552"/>
                  <a:gd name="connsiteY40" fmla="*/ 1359588 h 2230378"/>
                  <a:gd name="connsiteX41" fmla="*/ 5893358 w 5933552"/>
                  <a:gd name="connsiteY41" fmla="*/ 1434951 h 2230378"/>
                  <a:gd name="connsiteX42" fmla="*/ 5928527 w 5933552"/>
                  <a:gd name="connsiteY42" fmla="*/ 1495241 h 2230378"/>
                  <a:gd name="connsiteX43" fmla="*/ 5918479 w 5933552"/>
                  <a:gd name="connsiteY43" fmla="*/ 1605773 h 2230378"/>
                  <a:gd name="connsiteX44" fmla="*/ 5898382 w 5933552"/>
                  <a:gd name="connsiteY44" fmla="*/ 1686160 h 2230378"/>
                  <a:gd name="connsiteX45" fmla="*/ 5918479 w 5933552"/>
                  <a:gd name="connsiteY45" fmla="*/ 1776595 h 2230378"/>
                  <a:gd name="connsiteX46" fmla="*/ 5933552 w 5933552"/>
                  <a:gd name="connsiteY46" fmla="*/ 1811764 h 2230378"/>
                  <a:gd name="connsiteX47" fmla="*/ 5812971 w 5933552"/>
                  <a:gd name="connsiteY47" fmla="*/ 1872054 h 2230378"/>
                  <a:gd name="connsiteX48" fmla="*/ 5812971 w 5933552"/>
                  <a:gd name="connsiteY48" fmla="*/ 1872054 h 2230378"/>
                  <a:gd name="connsiteX49" fmla="*/ 5727560 w 5933552"/>
                  <a:gd name="connsiteY49" fmla="*/ 1932344 h 2230378"/>
                  <a:gd name="connsiteX50" fmla="*/ 5390941 w 5933552"/>
                  <a:gd name="connsiteY50" fmla="*/ 1937369 h 2230378"/>
                  <a:gd name="connsiteX51" fmla="*/ 5215670 w 5933552"/>
                  <a:gd name="connsiteY51" fmla="*/ 1935977 h 2230378"/>
                  <a:gd name="connsiteX52" fmla="*/ 4373414 w 5933552"/>
                  <a:gd name="connsiteY52" fmla="*/ 1917320 h 2230378"/>
                  <a:gd name="connsiteX53" fmla="*/ 1657301 w 5933552"/>
                  <a:gd name="connsiteY53" fmla="*/ 1891925 h 2230378"/>
                  <a:gd name="connsiteX54" fmla="*/ 507442 w 5933552"/>
                  <a:gd name="connsiteY54" fmla="*/ 1836885 h 2230378"/>
                  <a:gd name="connsiteX55" fmla="*/ 281354 w 5933552"/>
                  <a:gd name="connsiteY55" fmla="*/ 1836885 h 2230378"/>
                  <a:gd name="connsiteX56" fmla="*/ 130629 w 5933552"/>
                  <a:gd name="connsiteY56" fmla="*/ 1761522 h 2230378"/>
                  <a:gd name="connsiteX57" fmla="*/ 10048 w 5933552"/>
                  <a:gd name="connsiteY57" fmla="*/ 1681136 h 2230378"/>
                  <a:gd name="connsiteX58" fmla="*/ 0 w 5933552"/>
                  <a:gd name="connsiteY58" fmla="*/ 1540459 h 2230378"/>
                  <a:gd name="connsiteX59" fmla="*/ 15072 w 5933552"/>
                  <a:gd name="connsiteY59" fmla="*/ 1490217 h 2230378"/>
                  <a:gd name="connsiteX60" fmla="*/ 15072 w 5933552"/>
                  <a:gd name="connsiteY60" fmla="*/ 1434951 h 2230378"/>
                  <a:gd name="connsiteX61" fmla="*/ 25121 w 5933552"/>
                  <a:gd name="connsiteY61" fmla="*/ 1384709 h 2230378"/>
                  <a:gd name="connsiteX62" fmla="*/ 40193 w 5933552"/>
                  <a:gd name="connsiteY62" fmla="*/ 1359588 h 2230378"/>
                  <a:gd name="connsiteX63" fmla="*/ 65314 w 5933552"/>
                  <a:gd name="connsiteY63" fmla="*/ 1314371 h 2230378"/>
                  <a:gd name="connsiteX0" fmla="*/ 65314 w 5933552"/>
                  <a:gd name="connsiteY0" fmla="*/ 1314371 h 2238835"/>
                  <a:gd name="connsiteX1" fmla="*/ 75363 w 5933552"/>
                  <a:gd name="connsiteY1" fmla="*/ 1083259 h 2238835"/>
                  <a:gd name="connsiteX2" fmla="*/ 45218 w 5933552"/>
                  <a:gd name="connsiteY2" fmla="*/ 1073210 h 2238835"/>
                  <a:gd name="connsiteX3" fmla="*/ 95459 w 5933552"/>
                  <a:gd name="connsiteY3" fmla="*/ 887316 h 2238835"/>
                  <a:gd name="connsiteX4" fmla="*/ 80387 w 5933552"/>
                  <a:gd name="connsiteY4" fmla="*/ 771760 h 2238835"/>
                  <a:gd name="connsiteX5" fmla="*/ 85411 w 5933552"/>
                  <a:gd name="connsiteY5" fmla="*/ 716494 h 2238835"/>
                  <a:gd name="connsiteX6" fmla="*/ 105508 w 5933552"/>
                  <a:gd name="connsiteY6" fmla="*/ 696397 h 2238835"/>
                  <a:gd name="connsiteX7" fmla="*/ 135653 w 5933552"/>
                  <a:gd name="connsiteY7" fmla="*/ 676300 h 2238835"/>
                  <a:gd name="connsiteX8" fmla="*/ 467248 w 5933552"/>
                  <a:gd name="connsiteY8" fmla="*/ 329632 h 2238835"/>
                  <a:gd name="connsiteX9" fmla="*/ 472272 w 5933552"/>
                  <a:gd name="connsiteY9" fmla="*/ 284415 h 2238835"/>
                  <a:gd name="connsiteX10" fmla="*/ 442127 w 5933552"/>
                  <a:gd name="connsiteY10" fmla="*/ 259294 h 2238835"/>
                  <a:gd name="connsiteX11" fmla="*/ 406958 w 5933552"/>
                  <a:gd name="connsiteY11" fmla="*/ 229149 h 2238835"/>
                  <a:gd name="connsiteX12" fmla="*/ 406958 w 5933552"/>
                  <a:gd name="connsiteY12" fmla="*/ 204028 h 2238835"/>
                  <a:gd name="connsiteX13" fmla="*/ 462224 w 5933552"/>
                  <a:gd name="connsiteY13" fmla="*/ 193980 h 2238835"/>
                  <a:gd name="connsiteX14" fmla="*/ 864158 w 5933552"/>
                  <a:gd name="connsiteY14" fmla="*/ 143738 h 2238835"/>
                  <a:gd name="connsiteX15" fmla="*/ 999811 w 5933552"/>
                  <a:gd name="connsiteY15" fmla="*/ 88472 h 2238835"/>
                  <a:gd name="connsiteX16" fmla="*/ 1024932 w 5933552"/>
                  <a:gd name="connsiteY16" fmla="*/ 78424 h 2238835"/>
                  <a:gd name="connsiteX17" fmla="*/ 999811 w 5933552"/>
                  <a:gd name="connsiteY17" fmla="*/ 28182 h 2238835"/>
                  <a:gd name="connsiteX18" fmla="*/ 1070149 w 5933552"/>
                  <a:gd name="connsiteY18" fmla="*/ 33206 h 2238835"/>
                  <a:gd name="connsiteX19" fmla="*/ 1130439 w 5933552"/>
                  <a:gd name="connsiteY19" fmla="*/ 53303 h 2238835"/>
                  <a:gd name="connsiteX20" fmla="*/ 1160585 w 5933552"/>
                  <a:gd name="connsiteY20" fmla="*/ 63351 h 2238835"/>
                  <a:gd name="connsiteX21" fmla="*/ 1683099 w 5933552"/>
                  <a:gd name="connsiteY21" fmla="*/ 13109 h 2238835"/>
                  <a:gd name="connsiteX22" fmla="*/ 2306097 w 5933552"/>
                  <a:gd name="connsiteY22" fmla="*/ 3061 h 2238835"/>
                  <a:gd name="connsiteX23" fmla="*/ 3029578 w 5933552"/>
                  <a:gd name="connsiteY23" fmla="*/ 58327 h 2238835"/>
                  <a:gd name="connsiteX24" fmla="*/ 3135086 w 5933552"/>
                  <a:gd name="connsiteY24" fmla="*/ 78424 h 2238835"/>
                  <a:gd name="connsiteX25" fmla="*/ 3255666 w 5933552"/>
                  <a:gd name="connsiteY25" fmla="*/ 98520 h 2238835"/>
                  <a:gd name="connsiteX26" fmla="*/ 3542044 w 5933552"/>
                  <a:gd name="connsiteY26" fmla="*/ 183931 h 2238835"/>
                  <a:gd name="connsiteX27" fmla="*/ 3798277 w 5933552"/>
                  <a:gd name="connsiteY27" fmla="*/ 319584 h 2238835"/>
                  <a:gd name="connsiteX28" fmla="*/ 4210259 w 5933552"/>
                  <a:gd name="connsiteY28" fmla="*/ 545672 h 2238835"/>
                  <a:gd name="connsiteX29" fmla="*/ 4340888 w 5933552"/>
                  <a:gd name="connsiteY29" fmla="*/ 626059 h 2238835"/>
                  <a:gd name="connsiteX30" fmla="*/ 4381081 w 5933552"/>
                  <a:gd name="connsiteY30" fmla="*/ 656204 h 2238835"/>
                  <a:gd name="connsiteX31" fmla="*/ 4752870 w 5933552"/>
                  <a:gd name="connsiteY31" fmla="*/ 686349 h 2238835"/>
                  <a:gd name="connsiteX32" fmla="*/ 5164853 w 5933552"/>
                  <a:gd name="connsiteY32" fmla="*/ 761711 h 2238835"/>
                  <a:gd name="connsiteX33" fmla="*/ 5441182 w 5933552"/>
                  <a:gd name="connsiteY33" fmla="*/ 827026 h 2238835"/>
                  <a:gd name="connsiteX34" fmla="*/ 5612004 w 5933552"/>
                  <a:gd name="connsiteY34" fmla="*/ 902388 h 2238835"/>
                  <a:gd name="connsiteX35" fmla="*/ 5807947 w 5933552"/>
                  <a:gd name="connsiteY35" fmla="*/ 1048089 h 2238835"/>
                  <a:gd name="connsiteX36" fmla="*/ 5823020 w 5933552"/>
                  <a:gd name="connsiteY36" fmla="*/ 1118428 h 2238835"/>
                  <a:gd name="connsiteX37" fmla="*/ 5838092 w 5933552"/>
                  <a:gd name="connsiteY37" fmla="*/ 1218911 h 2238835"/>
                  <a:gd name="connsiteX38" fmla="*/ 5823020 w 5933552"/>
                  <a:gd name="connsiteY38" fmla="*/ 1249056 h 2238835"/>
                  <a:gd name="connsiteX39" fmla="*/ 5863213 w 5933552"/>
                  <a:gd name="connsiteY39" fmla="*/ 1299298 h 2238835"/>
                  <a:gd name="connsiteX40" fmla="*/ 5893358 w 5933552"/>
                  <a:gd name="connsiteY40" fmla="*/ 1359588 h 2238835"/>
                  <a:gd name="connsiteX41" fmla="*/ 5893358 w 5933552"/>
                  <a:gd name="connsiteY41" fmla="*/ 1434951 h 2238835"/>
                  <a:gd name="connsiteX42" fmla="*/ 5928527 w 5933552"/>
                  <a:gd name="connsiteY42" fmla="*/ 1495241 h 2238835"/>
                  <a:gd name="connsiteX43" fmla="*/ 5918479 w 5933552"/>
                  <a:gd name="connsiteY43" fmla="*/ 1605773 h 2238835"/>
                  <a:gd name="connsiteX44" fmla="*/ 5898382 w 5933552"/>
                  <a:gd name="connsiteY44" fmla="*/ 1686160 h 2238835"/>
                  <a:gd name="connsiteX45" fmla="*/ 5918479 w 5933552"/>
                  <a:gd name="connsiteY45" fmla="*/ 1776595 h 2238835"/>
                  <a:gd name="connsiteX46" fmla="*/ 5933552 w 5933552"/>
                  <a:gd name="connsiteY46" fmla="*/ 1811764 h 2238835"/>
                  <a:gd name="connsiteX47" fmla="*/ 5812971 w 5933552"/>
                  <a:gd name="connsiteY47" fmla="*/ 1872054 h 2238835"/>
                  <a:gd name="connsiteX48" fmla="*/ 5812971 w 5933552"/>
                  <a:gd name="connsiteY48" fmla="*/ 1872054 h 2238835"/>
                  <a:gd name="connsiteX49" fmla="*/ 5727560 w 5933552"/>
                  <a:gd name="connsiteY49" fmla="*/ 1932344 h 2238835"/>
                  <a:gd name="connsiteX50" fmla="*/ 5390941 w 5933552"/>
                  <a:gd name="connsiteY50" fmla="*/ 1937369 h 2238835"/>
                  <a:gd name="connsiteX51" fmla="*/ 5215670 w 5933552"/>
                  <a:gd name="connsiteY51" fmla="*/ 1935977 h 2238835"/>
                  <a:gd name="connsiteX52" fmla="*/ 4373414 w 5933552"/>
                  <a:gd name="connsiteY52" fmla="*/ 1917320 h 2238835"/>
                  <a:gd name="connsiteX53" fmla="*/ 1657301 w 5933552"/>
                  <a:gd name="connsiteY53" fmla="*/ 1891925 h 2238835"/>
                  <a:gd name="connsiteX54" fmla="*/ 507442 w 5933552"/>
                  <a:gd name="connsiteY54" fmla="*/ 1836885 h 2238835"/>
                  <a:gd name="connsiteX55" fmla="*/ 281354 w 5933552"/>
                  <a:gd name="connsiteY55" fmla="*/ 1836885 h 2238835"/>
                  <a:gd name="connsiteX56" fmla="*/ 130629 w 5933552"/>
                  <a:gd name="connsiteY56" fmla="*/ 1761522 h 2238835"/>
                  <a:gd name="connsiteX57" fmla="*/ 10048 w 5933552"/>
                  <a:gd name="connsiteY57" fmla="*/ 1681136 h 2238835"/>
                  <a:gd name="connsiteX58" fmla="*/ 0 w 5933552"/>
                  <a:gd name="connsiteY58" fmla="*/ 1540459 h 2238835"/>
                  <a:gd name="connsiteX59" fmla="*/ 15072 w 5933552"/>
                  <a:gd name="connsiteY59" fmla="*/ 1490217 h 2238835"/>
                  <a:gd name="connsiteX60" fmla="*/ 15072 w 5933552"/>
                  <a:gd name="connsiteY60" fmla="*/ 1434951 h 2238835"/>
                  <a:gd name="connsiteX61" fmla="*/ 25121 w 5933552"/>
                  <a:gd name="connsiteY61" fmla="*/ 1384709 h 2238835"/>
                  <a:gd name="connsiteX62" fmla="*/ 40193 w 5933552"/>
                  <a:gd name="connsiteY62" fmla="*/ 1359588 h 2238835"/>
                  <a:gd name="connsiteX63" fmla="*/ 65314 w 5933552"/>
                  <a:gd name="connsiteY63" fmla="*/ 1314371 h 2238835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657301 w 5933552"/>
                  <a:gd name="connsiteY53" fmla="*/ 1891925 h 2234603"/>
                  <a:gd name="connsiteX54" fmla="*/ 507442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507442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382327"/>
                  <a:gd name="connsiteX1" fmla="*/ 75363 w 5933552"/>
                  <a:gd name="connsiteY1" fmla="*/ 1083259 h 2382327"/>
                  <a:gd name="connsiteX2" fmla="*/ 45218 w 5933552"/>
                  <a:gd name="connsiteY2" fmla="*/ 1073210 h 2382327"/>
                  <a:gd name="connsiteX3" fmla="*/ 95459 w 5933552"/>
                  <a:gd name="connsiteY3" fmla="*/ 887316 h 2382327"/>
                  <a:gd name="connsiteX4" fmla="*/ 80387 w 5933552"/>
                  <a:gd name="connsiteY4" fmla="*/ 771760 h 2382327"/>
                  <a:gd name="connsiteX5" fmla="*/ 85411 w 5933552"/>
                  <a:gd name="connsiteY5" fmla="*/ 716494 h 2382327"/>
                  <a:gd name="connsiteX6" fmla="*/ 105508 w 5933552"/>
                  <a:gd name="connsiteY6" fmla="*/ 696397 h 2382327"/>
                  <a:gd name="connsiteX7" fmla="*/ 135653 w 5933552"/>
                  <a:gd name="connsiteY7" fmla="*/ 676300 h 2382327"/>
                  <a:gd name="connsiteX8" fmla="*/ 467248 w 5933552"/>
                  <a:gd name="connsiteY8" fmla="*/ 329632 h 2382327"/>
                  <a:gd name="connsiteX9" fmla="*/ 472272 w 5933552"/>
                  <a:gd name="connsiteY9" fmla="*/ 284415 h 2382327"/>
                  <a:gd name="connsiteX10" fmla="*/ 442127 w 5933552"/>
                  <a:gd name="connsiteY10" fmla="*/ 259294 h 2382327"/>
                  <a:gd name="connsiteX11" fmla="*/ 406958 w 5933552"/>
                  <a:gd name="connsiteY11" fmla="*/ 229149 h 2382327"/>
                  <a:gd name="connsiteX12" fmla="*/ 406958 w 5933552"/>
                  <a:gd name="connsiteY12" fmla="*/ 204028 h 2382327"/>
                  <a:gd name="connsiteX13" fmla="*/ 462224 w 5933552"/>
                  <a:gd name="connsiteY13" fmla="*/ 193980 h 2382327"/>
                  <a:gd name="connsiteX14" fmla="*/ 864158 w 5933552"/>
                  <a:gd name="connsiteY14" fmla="*/ 143738 h 2382327"/>
                  <a:gd name="connsiteX15" fmla="*/ 999811 w 5933552"/>
                  <a:gd name="connsiteY15" fmla="*/ 88472 h 2382327"/>
                  <a:gd name="connsiteX16" fmla="*/ 1024932 w 5933552"/>
                  <a:gd name="connsiteY16" fmla="*/ 78424 h 2382327"/>
                  <a:gd name="connsiteX17" fmla="*/ 999811 w 5933552"/>
                  <a:gd name="connsiteY17" fmla="*/ 28182 h 2382327"/>
                  <a:gd name="connsiteX18" fmla="*/ 1070149 w 5933552"/>
                  <a:gd name="connsiteY18" fmla="*/ 33206 h 2382327"/>
                  <a:gd name="connsiteX19" fmla="*/ 1130439 w 5933552"/>
                  <a:gd name="connsiteY19" fmla="*/ 53303 h 2382327"/>
                  <a:gd name="connsiteX20" fmla="*/ 1160585 w 5933552"/>
                  <a:gd name="connsiteY20" fmla="*/ 63351 h 2382327"/>
                  <a:gd name="connsiteX21" fmla="*/ 1683099 w 5933552"/>
                  <a:gd name="connsiteY21" fmla="*/ 13109 h 2382327"/>
                  <a:gd name="connsiteX22" fmla="*/ 2306097 w 5933552"/>
                  <a:gd name="connsiteY22" fmla="*/ 3061 h 2382327"/>
                  <a:gd name="connsiteX23" fmla="*/ 3029578 w 5933552"/>
                  <a:gd name="connsiteY23" fmla="*/ 58327 h 2382327"/>
                  <a:gd name="connsiteX24" fmla="*/ 3135086 w 5933552"/>
                  <a:gd name="connsiteY24" fmla="*/ 78424 h 2382327"/>
                  <a:gd name="connsiteX25" fmla="*/ 3255666 w 5933552"/>
                  <a:gd name="connsiteY25" fmla="*/ 98520 h 2382327"/>
                  <a:gd name="connsiteX26" fmla="*/ 3542044 w 5933552"/>
                  <a:gd name="connsiteY26" fmla="*/ 183931 h 2382327"/>
                  <a:gd name="connsiteX27" fmla="*/ 3798277 w 5933552"/>
                  <a:gd name="connsiteY27" fmla="*/ 319584 h 2382327"/>
                  <a:gd name="connsiteX28" fmla="*/ 4210259 w 5933552"/>
                  <a:gd name="connsiteY28" fmla="*/ 545672 h 2382327"/>
                  <a:gd name="connsiteX29" fmla="*/ 4340888 w 5933552"/>
                  <a:gd name="connsiteY29" fmla="*/ 626059 h 2382327"/>
                  <a:gd name="connsiteX30" fmla="*/ 4381081 w 5933552"/>
                  <a:gd name="connsiteY30" fmla="*/ 656204 h 2382327"/>
                  <a:gd name="connsiteX31" fmla="*/ 4752870 w 5933552"/>
                  <a:gd name="connsiteY31" fmla="*/ 686349 h 2382327"/>
                  <a:gd name="connsiteX32" fmla="*/ 5164853 w 5933552"/>
                  <a:gd name="connsiteY32" fmla="*/ 761711 h 2382327"/>
                  <a:gd name="connsiteX33" fmla="*/ 5441182 w 5933552"/>
                  <a:gd name="connsiteY33" fmla="*/ 827026 h 2382327"/>
                  <a:gd name="connsiteX34" fmla="*/ 5612004 w 5933552"/>
                  <a:gd name="connsiteY34" fmla="*/ 902388 h 2382327"/>
                  <a:gd name="connsiteX35" fmla="*/ 5807947 w 5933552"/>
                  <a:gd name="connsiteY35" fmla="*/ 1048089 h 2382327"/>
                  <a:gd name="connsiteX36" fmla="*/ 5823020 w 5933552"/>
                  <a:gd name="connsiteY36" fmla="*/ 1118428 h 2382327"/>
                  <a:gd name="connsiteX37" fmla="*/ 5838092 w 5933552"/>
                  <a:gd name="connsiteY37" fmla="*/ 1218911 h 2382327"/>
                  <a:gd name="connsiteX38" fmla="*/ 5823020 w 5933552"/>
                  <a:gd name="connsiteY38" fmla="*/ 1249056 h 2382327"/>
                  <a:gd name="connsiteX39" fmla="*/ 5863213 w 5933552"/>
                  <a:gd name="connsiteY39" fmla="*/ 1299298 h 2382327"/>
                  <a:gd name="connsiteX40" fmla="*/ 5893358 w 5933552"/>
                  <a:gd name="connsiteY40" fmla="*/ 1359588 h 2382327"/>
                  <a:gd name="connsiteX41" fmla="*/ 5893358 w 5933552"/>
                  <a:gd name="connsiteY41" fmla="*/ 1434951 h 2382327"/>
                  <a:gd name="connsiteX42" fmla="*/ 5928527 w 5933552"/>
                  <a:gd name="connsiteY42" fmla="*/ 1495241 h 2382327"/>
                  <a:gd name="connsiteX43" fmla="*/ 5918479 w 5933552"/>
                  <a:gd name="connsiteY43" fmla="*/ 1605773 h 2382327"/>
                  <a:gd name="connsiteX44" fmla="*/ 5898382 w 5933552"/>
                  <a:gd name="connsiteY44" fmla="*/ 1686160 h 2382327"/>
                  <a:gd name="connsiteX45" fmla="*/ 5918479 w 5933552"/>
                  <a:gd name="connsiteY45" fmla="*/ 1776595 h 2382327"/>
                  <a:gd name="connsiteX46" fmla="*/ 5933552 w 5933552"/>
                  <a:gd name="connsiteY46" fmla="*/ 1811764 h 2382327"/>
                  <a:gd name="connsiteX47" fmla="*/ 5812971 w 5933552"/>
                  <a:gd name="connsiteY47" fmla="*/ 1872054 h 2382327"/>
                  <a:gd name="connsiteX48" fmla="*/ 5812971 w 5933552"/>
                  <a:gd name="connsiteY48" fmla="*/ 1872054 h 2382327"/>
                  <a:gd name="connsiteX49" fmla="*/ 5727560 w 5933552"/>
                  <a:gd name="connsiteY49" fmla="*/ 1932344 h 2382327"/>
                  <a:gd name="connsiteX50" fmla="*/ 5390941 w 5933552"/>
                  <a:gd name="connsiteY50" fmla="*/ 1937369 h 2382327"/>
                  <a:gd name="connsiteX51" fmla="*/ 5215670 w 5933552"/>
                  <a:gd name="connsiteY51" fmla="*/ 1935977 h 2382327"/>
                  <a:gd name="connsiteX52" fmla="*/ 4373414 w 5933552"/>
                  <a:gd name="connsiteY52" fmla="*/ 1917320 h 2382327"/>
                  <a:gd name="connsiteX53" fmla="*/ 1519267 w 5933552"/>
                  <a:gd name="connsiteY53" fmla="*/ 1891925 h 2382327"/>
                  <a:gd name="connsiteX54" fmla="*/ 619914 w 5933552"/>
                  <a:gd name="connsiteY54" fmla="*/ 1836885 h 2382327"/>
                  <a:gd name="connsiteX55" fmla="*/ 281354 w 5933552"/>
                  <a:gd name="connsiteY55" fmla="*/ 1836885 h 2382327"/>
                  <a:gd name="connsiteX56" fmla="*/ 130629 w 5933552"/>
                  <a:gd name="connsiteY56" fmla="*/ 1761522 h 2382327"/>
                  <a:gd name="connsiteX57" fmla="*/ 10048 w 5933552"/>
                  <a:gd name="connsiteY57" fmla="*/ 1681136 h 2382327"/>
                  <a:gd name="connsiteX58" fmla="*/ 0 w 5933552"/>
                  <a:gd name="connsiteY58" fmla="*/ 1540459 h 2382327"/>
                  <a:gd name="connsiteX59" fmla="*/ 15072 w 5933552"/>
                  <a:gd name="connsiteY59" fmla="*/ 1490217 h 2382327"/>
                  <a:gd name="connsiteX60" fmla="*/ 15072 w 5933552"/>
                  <a:gd name="connsiteY60" fmla="*/ 1434951 h 2382327"/>
                  <a:gd name="connsiteX61" fmla="*/ 25121 w 5933552"/>
                  <a:gd name="connsiteY61" fmla="*/ 1384709 h 2382327"/>
                  <a:gd name="connsiteX62" fmla="*/ 40193 w 5933552"/>
                  <a:gd name="connsiteY62" fmla="*/ 1359588 h 2382327"/>
                  <a:gd name="connsiteX63" fmla="*/ 65314 w 5933552"/>
                  <a:gd name="connsiteY63" fmla="*/ 1314371 h 2382327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993"/>
                  <a:gd name="connsiteX1" fmla="*/ 75363 w 5933552"/>
                  <a:gd name="connsiteY1" fmla="*/ 1083259 h 2234993"/>
                  <a:gd name="connsiteX2" fmla="*/ 45218 w 5933552"/>
                  <a:gd name="connsiteY2" fmla="*/ 1073210 h 2234993"/>
                  <a:gd name="connsiteX3" fmla="*/ 95459 w 5933552"/>
                  <a:gd name="connsiteY3" fmla="*/ 887316 h 2234993"/>
                  <a:gd name="connsiteX4" fmla="*/ 80387 w 5933552"/>
                  <a:gd name="connsiteY4" fmla="*/ 771760 h 2234993"/>
                  <a:gd name="connsiteX5" fmla="*/ 85411 w 5933552"/>
                  <a:gd name="connsiteY5" fmla="*/ 716494 h 2234993"/>
                  <a:gd name="connsiteX6" fmla="*/ 105508 w 5933552"/>
                  <a:gd name="connsiteY6" fmla="*/ 696397 h 2234993"/>
                  <a:gd name="connsiteX7" fmla="*/ 135653 w 5933552"/>
                  <a:gd name="connsiteY7" fmla="*/ 676300 h 2234993"/>
                  <a:gd name="connsiteX8" fmla="*/ 467248 w 5933552"/>
                  <a:gd name="connsiteY8" fmla="*/ 329632 h 2234993"/>
                  <a:gd name="connsiteX9" fmla="*/ 472272 w 5933552"/>
                  <a:gd name="connsiteY9" fmla="*/ 284415 h 2234993"/>
                  <a:gd name="connsiteX10" fmla="*/ 442127 w 5933552"/>
                  <a:gd name="connsiteY10" fmla="*/ 259294 h 2234993"/>
                  <a:gd name="connsiteX11" fmla="*/ 406958 w 5933552"/>
                  <a:gd name="connsiteY11" fmla="*/ 229149 h 2234993"/>
                  <a:gd name="connsiteX12" fmla="*/ 406958 w 5933552"/>
                  <a:gd name="connsiteY12" fmla="*/ 204028 h 2234993"/>
                  <a:gd name="connsiteX13" fmla="*/ 462224 w 5933552"/>
                  <a:gd name="connsiteY13" fmla="*/ 193980 h 2234993"/>
                  <a:gd name="connsiteX14" fmla="*/ 864158 w 5933552"/>
                  <a:gd name="connsiteY14" fmla="*/ 143738 h 2234993"/>
                  <a:gd name="connsiteX15" fmla="*/ 999811 w 5933552"/>
                  <a:gd name="connsiteY15" fmla="*/ 88472 h 2234993"/>
                  <a:gd name="connsiteX16" fmla="*/ 1024932 w 5933552"/>
                  <a:gd name="connsiteY16" fmla="*/ 78424 h 2234993"/>
                  <a:gd name="connsiteX17" fmla="*/ 999811 w 5933552"/>
                  <a:gd name="connsiteY17" fmla="*/ 28182 h 2234993"/>
                  <a:gd name="connsiteX18" fmla="*/ 1070149 w 5933552"/>
                  <a:gd name="connsiteY18" fmla="*/ 33206 h 2234993"/>
                  <a:gd name="connsiteX19" fmla="*/ 1130439 w 5933552"/>
                  <a:gd name="connsiteY19" fmla="*/ 53303 h 2234993"/>
                  <a:gd name="connsiteX20" fmla="*/ 1160585 w 5933552"/>
                  <a:gd name="connsiteY20" fmla="*/ 63351 h 2234993"/>
                  <a:gd name="connsiteX21" fmla="*/ 1683099 w 5933552"/>
                  <a:gd name="connsiteY21" fmla="*/ 13109 h 2234993"/>
                  <a:gd name="connsiteX22" fmla="*/ 2306097 w 5933552"/>
                  <a:gd name="connsiteY22" fmla="*/ 3061 h 2234993"/>
                  <a:gd name="connsiteX23" fmla="*/ 3029578 w 5933552"/>
                  <a:gd name="connsiteY23" fmla="*/ 58327 h 2234993"/>
                  <a:gd name="connsiteX24" fmla="*/ 3135086 w 5933552"/>
                  <a:gd name="connsiteY24" fmla="*/ 78424 h 2234993"/>
                  <a:gd name="connsiteX25" fmla="*/ 3255666 w 5933552"/>
                  <a:gd name="connsiteY25" fmla="*/ 98520 h 2234993"/>
                  <a:gd name="connsiteX26" fmla="*/ 3542044 w 5933552"/>
                  <a:gd name="connsiteY26" fmla="*/ 183931 h 2234993"/>
                  <a:gd name="connsiteX27" fmla="*/ 3798277 w 5933552"/>
                  <a:gd name="connsiteY27" fmla="*/ 319584 h 2234993"/>
                  <a:gd name="connsiteX28" fmla="*/ 4210259 w 5933552"/>
                  <a:gd name="connsiteY28" fmla="*/ 545672 h 2234993"/>
                  <a:gd name="connsiteX29" fmla="*/ 4340888 w 5933552"/>
                  <a:gd name="connsiteY29" fmla="*/ 626059 h 2234993"/>
                  <a:gd name="connsiteX30" fmla="*/ 4381081 w 5933552"/>
                  <a:gd name="connsiteY30" fmla="*/ 656204 h 2234993"/>
                  <a:gd name="connsiteX31" fmla="*/ 4752870 w 5933552"/>
                  <a:gd name="connsiteY31" fmla="*/ 686349 h 2234993"/>
                  <a:gd name="connsiteX32" fmla="*/ 5164853 w 5933552"/>
                  <a:gd name="connsiteY32" fmla="*/ 761711 h 2234993"/>
                  <a:gd name="connsiteX33" fmla="*/ 5441182 w 5933552"/>
                  <a:gd name="connsiteY33" fmla="*/ 827026 h 2234993"/>
                  <a:gd name="connsiteX34" fmla="*/ 5612004 w 5933552"/>
                  <a:gd name="connsiteY34" fmla="*/ 902388 h 2234993"/>
                  <a:gd name="connsiteX35" fmla="*/ 5807947 w 5933552"/>
                  <a:gd name="connsiteY35" fmla="*/ 1048089 h 2234993"/>
                  <a:gd name="connsiteX36" fmla="*/ 5823020 w 5933552"/>
                  <a:gd name="connsiteY36" fmla="*/ 1118428 h 2234993"/>
                  <a:gd name="connsiteX37" fmla="*/ 5838092 w 5933552"/>
                  <a:gd name="connsiteY37" fmla="*/ 1218911 h 2234993"/>
                  <a:gd name="connsiteX38" fmla="*/ 5823020 w 5933552"/>
                  <a:gd name="connsiteY38" fmla="*/ 1249056 h 2234993"/>
                  <a:gd name="connsiteX39" fmla="*/ 5863213 w 5933552"/>
                  <a:gd name="connsiteY39" fmla="*/ 1299298 h 2234993"/>
                  <a:gd name="connsiteX40" fmla="*/ 5893358 w 5933552"/>
                  <a:gd name="connsiteY40" fmla="*/ 1359588 h 2234993"/>
                  <a:gd name="connsiteX41" fmla="*/ 5893358 w 5933552"/>
                  <a:gd name="connsiteY41" fmla="*/ 1434951 h 2234993"/>
                  <a:gd name="connsiteX42" fmla="*/ 5928527 w 5933552"/>
                  <a:gd name="connsiteY42" fmla="*/ 1495241 h 2234993"/>
                  <a:gd name="connsiteX43" fmla="*/ 5918479 w 5933552"/>
                  <a:gd name="connsiteY43" fmla="*/ 1605773 h 2234993"/>
                  <a:gd name="connsiteX44" fmla="*/ 5898382 w 5933552"/>
                  <a:gd name="connsiteY44" fmla="*/ 1686160 h 2234993"/>
                  <a:gd name="connsiteX45" fmla="*/ 5918479 w 5933552"/>
                  <a:gd name="connsiteY45" fmla="*/ 1776595 h 2234993"/>
                  <a:gd name="connsiteX46" fmla="*/ 5933552 w 5933552"/>
                  <a:gd name="connsiteY46" fmla="*/ 1811764 h 2234993"/>
                  <a:gd name="connsiteX47" fmla="*/ 5812971 w 5933552"/>
                  <a:gd name="connsiteY47" fmla="*/ 1872054 h 2234993"/>
                  <a:gd name="connsiteX48" fmla="*/ 5812971 w 5933552"/>
                  <a:gd name="connsiteY48" fmla="*/ 1872054 h 2234993"/>
                  <a:gd name="connsiteX49" fmla="*/ 5727560 w 5933552"/>
                  <a:gd name="connsiteY49" fmla="*/ 1932344 h 2234993"/>
                  <a:gd name="connsiteX50" fmla="*/ 5390941 w 5933552"/>
                  <a:gd name="connsiteY50" fmla="*/ 1937369 h 2234993"/>
                  <a:gd name="connsiteX51" fmla="*/ 5215670 w 5933552"/>
                  <a:gd name="connsiteY51" fmla="*/ 1935977 h 2234993"/>
                  <a:gd name="connsiteX52" fmla="*/ 4373414 w 5933552"/>
                  <a:gd name="connsiteY52" fmla="*/ 1917320 h 2234993"/>
                  <a:gd name="connsiteX53" fmla="*/ 1519267 w 5933552"/>
                  <a:gd name="connsiteY53" fmla="*/ 1891925 h 2234993"/>
                  <a:gd name="connsiteX54" fmla="*/ 619914 w 5933552"/>
                  <a:gd name="connsiteY54" fmla="*/ 1836885 h 2234993"/>
                  <a:gd name="connsiteX55" fmla="*/ 281354 w 5933552"/>
                  <a:gd name="connsiteY55" fmla="*/ 1836885 h 2234993"/>
                  <a:gd name="connsiteX56" fmla="*/ 130629 w 5933552"/>
                  <a:gd name="connsiteY56" fmla="*/ 1761522 h 2234993"/>
                  <a:gd name="connsiteX57" fmla="*/ 10048 w 5933552"/>
                  <a:gd name="connsiteY57" fmla="*/ 1681136 h 2234993"/>
                  <a:gd name="connsiteX58" fmla="*/ 0 w 5933552"/>
                  <a:gd name="connsiteY58" fmla="*/ 1540459 h 2234993"/>
                  <a:gd name="connsiteX59" fmla="*/ 15072 w 5933552"/>
                  <a:gd name="connsiteY59" fmla="*/ 1490217 h 2234993"/>
                  <a:gd name="connsiteX60" fmla="*/ 15072 w 5933552"/>
                  <a:gd name="connsiteY60" fmla="*/ 1434951 h 2234993"/>
                  <a:gd name="connsiteX61" fmla="*/ 25121 w 5933552"/>
                  <a:gd name="connsiteY61" fmla="*/ 1384709 h 2234993"/>
                  <a:gd name="connsiteX62" fmla="*/ 40193 w 5933552"/>
                  <a:gd name="connsiteY62" fmla="*/ 1359588 h 2234993"/>
                  <a:gd name="connsiteX63" fmla="*/ 65314 w 5933552"/>
                  <a:gd name="connsiteY63" fmla="*/ 1314371 h 223499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070149 w 5933552"/>
                  <a:gd name="connsiteY18" fmla="*/ 30146 h 2231543"/>
                  <a:gd name="connsiteX19" fmla="*/ 1130439 w 5933552"/>
                  <a:gd name="connsiteY19" fmla="*/ 50243 h 2231543"/>
                  <a:gd name="connsiteX20" fmla="*/ 1160585 w 5933552"/>
                  <a:gd name="connsiteY20" fmla="*/ 60291 h 2231543"/>
                  <a:gd name="connsiteX21" fmla="*/ 164538 w 5933552"/>
                  <a:gd name="connsiteY21" fmla="*/ 56488 h 2231543"/>
                  <a:gd name="connsiteX22" fmla="*/ 2306097 w 5933552"/>
                  <a:gd name="connsiteY22" fmla="*/ 1 h 2231543"/>
                  <a:gd name="connsiteX23" fmla="*/ 3029578 w 5933552"/>
                  <a:gd name="connsiteY23" fmla="*/ 55267 h 2231543"/>
                  <a:gd name="connsiteX24" fmla="*/ 3135086 w 5933552"/>
                  <a:gd name="connsiteY24" fmla="*/ 75364 h 2231543"/>
                  <a:gd name="connsiteX25" fmla="*/ 3255666 w 5933552"/>
                  <a:gd name="connsiteY25" fmla="*/ 95460 h 2231543"/>
                  <a:gd name="connsiteX26" fmla="*/ 3542044 w 5933552"/>
                  <a:gd name="connsiteY26" fmla="*/ 180871 h 2231543"/>
                  <a:gd name="connsiteX27" fmla="*/ 3798277 w 5933552"/>
                  <a:gd name="connsiteY27" fmla="*/ 316524 h 2231543"/>
                  <a:gd name="connsiteX28" fmla="*/ 4210259 w 5933552"/>
                  <a:gd name="connsiteY28" fmla="*/ 542612 h 2231543"/>
                  <a:gd name="connsiteX29" fmla="*/ 4340888 w 5933552"/>
                  <a:gd name="connsiteY29" fmla="*/ 622999 h 2231543"/>
                  <a:gd name="connsiteX30" fmla="*/ 4381081 w 5933552"/>
                  <a:gd name="connsiteY30" fmla="*/ 653144 h 2231543"/>
                  <a:gd name="connsiteX31" fmla="*/ 4752870 w 5933552"/>
                  <a:gd name="connsiteY31" fmla="*/ 683289 h 2231543"/>
                  <a:gd name="connsiteX32" fmla="*/ 5164853 w 5933552"/>
                  <a:gd name="connsiteY32" fmla="*/ 758651 h 2231543"/>
                  <a:gd name="connsiteX33" fmla="*/ 5441182 w 5933552"/>
                  <a:gd name="connsiteY33" fmla="*/ 823966 h 2231543"/>
                  <a:gd name="connsiteX34" fmla="*/ 5612004 w 5933552"/>
                  <a:gd name="connsiteY34" fmla="*/ 899328 h 2231543"/>
                  <a:gd name="connsiteX35" fmla="*/ 5807947 w 5933552"/>
                  <a:gd name="connsiteY35" fmla="*/ 1045029 h 2231543"/>
                  <a:gd name="connsiteX36" fmla="*/ 5823020 w 5933552"/>
                  <a:gd name="connsiteY36" fmla="*/ 1115368 h 2231543"/>
                  <a:gd name="connsiteX37" fmla="*/ 5838092 w 5933552"/>
                  <a:gd name="connsiteY37" fmla="*/ 1215851 h 2231543"/>
                  <a:gd name="connsiteX38" fmla="*/ 5823020 w 5933552"/>
                  <a:gd name="connsiteY38" fmla="*/ 1245996 h 2231543"/>
                  <a:gd name="connsiteX39" fmla="*/ 5863213 w 5933552"/>
                  <a:gd name="connsiteY39" fmla="*/ 1296238 h 2231543"/>
                  <a:gd name="connsiteX40" fmla="*/ 5893358 w 5933552"/>
                  <a:gd name="connsiteY40" fmla="*/ 1356528 h 2231543"/>
                  <a:gd name="connsiteX41" fmla="*/ 5893358 w 5933552"/>
                  <a:gd name="connsiteY41" fmla="*/ 1431891 h 2231543"/>
                  <a:gd name="connsiteX42" fmla="*/ 5928527 w 5933552"/>
                  <a:gd name="connsiteY42" fmla="*/ 1492181 h 2231543"/>
                  <a:gd name="connsiteX43" fmla="*/ 5918479 w 5933552"/>
                  <a:gd name="connsiteY43" fmla="*/ 1602713 h 2231543"/>
                  <a:gd name="connsiteX44" fmla="*/ 5898382 w 5933552"/>
                  <a:gd name="connsiteY44" fmla="*/ 1683100 h 2231543"/>
                  <a:gd name="connsiteX45" fmla="*/ 5918479 w 5933552"/>
                  <a:gd name="connsiteY45" fmla="*/ 1773535 h 2231543"/>
                  <a:gd name="connsiteX46" fmla="*/ 5933552 w 5933552"/>
                  <a:gd name="connsiteY46" fmla="*/ 1808704 h 2231543"/>
                  <a:gd name="connsiteX47" fmla="*/ 5812971 w 5933552"/>
                  <a:gd name="connsiteY47" fmla="*/ 1868994 h 2231543"/>
                  <a:gd name="connsiteX48" fmla="*/ 5812971 w 5933552"/>
                  <a:gd name="connsiteY48" fmla="*/ 1868994 h 2231543"/>
                  <a:gd name="connsiteX49" fmla="*/ 5727560 w 5933552"/>
                  <a:gd name="connsiteY49" fmla="*/ 1929284 h 2231543"/>
                  <a:gd name="connsiteX50" fmla="*/ 5390941 w 5933552"/>
                  <a:gd name="connsiteY50" fmla="*/ 1934309 h 2231543"/>
                  <a:gd name="connsiteX51" fmla="*/ 5215670 w 5933552"/>
                  <a:gd name="connsiteY51" fmla="*/ 1932917 h 2231543"/>
                  <a:gd name="connsiteX52" fmla="*/ 4373414 w 5933552"/>
                  <a:gd name="connsiteY52" fmla="*/ 1914260 h 2231543"/>
                  <a:gd name="connsiteX53" fmla="*/ 1498817 w 5933552"/>
                  <a:gd name="connsiteY53" fmla="*/ 1888865 h 2231543"/>
                  <a:gd name="connsiteX54" fmla="*/ 619914 w 5933552"/>
                  <a:gd name="connsiteY54" fmla="*/ 1833825 h 2231543"/>
                  <a:gd name="connsiteX55" fmla="*/ 281354 w 5933552"/>
                  <a:gd name="connsiteY55" fmla="*/ 1833825 h 2231543"/>
                  <a:gd name="connsiteX56" fmla="*/ 130629 w 5933552"/>
                  <a:gd name="connsiteY56" fmla="*/ 1758462 h 2231543"/>
                  <a:gd name="connsiteX57" fmla="*/ 10048 w 5933552"/>
                  <a:gd name="connsiteY57" fmla="*/ 1678076 h 2231543"/>
                  <a:gd name="connsiteX58" fmla="*/ 0 w 5933552"/>
                  <a:gd name="connsiteY58" fmla="*/ 1537399 h 2231543"/>
                  <a:gd name="connsiteX59" fmla="*/ 15072 w 5933552"/>
                  <a:gd name="connsiteY59" fmla="*/ 1487157 h 2231543"/>
                  <a:gd name="connsiteX60" fmla="*/ 15072 w 5933552"/>
                  <a:gd name="connsiteY60" fmla="*/ 1431891 h 2231543"/>
                  <a:gd name="connsiteX61" fmla="*/ 25121 w 5933552"/>
                  <a:gd name="connsiteY61" fmla="*/ 1381649 h 2231543"/>
                  <a:gd name="connsiteX62" fmla="*/ 40193 w 5933552"/>
                  <a:gd name="connsiteY62" fmla="*/ 1356528 h 2231543"/>
                  <a:gd name="connsiteX63" fmla="*/ 65314 w 5933552"/>
                  <a:gd name="connsiteY63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070149 w 5933552"/>
                  <a:gd name="connsiteY18" fmla="*/ 30146 h 2231543"/>
                  <a:gd name="connsiteX19" fmla="*/ 1130439 w 5933552"/>
                  <a:gd name="connsiteY19" fmla="*/ 50243 h 2231543"/>
                  <a:gd name="connsiteX20" fmla="*/ 164538 w 5933552"/>
                  <a:gd name="connsiteY20" fmla="*/ 56488 h 2231543"/>
                  <a:gd name="connsiteX21" fmla="*/ 2306097 w 5933552"/>
                  <a:gd name="connsiteY21" fmla="*/ 1 h 2231543"/>
                  <a:gd name="connsiteX22" fmla="*/ 3029578 w 5933552"/>
                  <a:gd name="connsiteY22" fmla="*/ 55267 h 2231543"/>
                  <a:gd name="connsiteX23" fmla="*/ 3135086 w 5933552"/>
                  <a:gd name="connsiteY23" fmla="*/ 75364 h 2231543"/>
                  <a:gd name="connsiteX24" fmla="*/ 3255666 w 5933552"/>
                  <a:gd name="connsiteY24" fmla="*/ 95460 h 2231543"/>
                  <a:gd name="connsiteX25" fmla="*/ 3542044 w 5933552"/>
                  <a:gd name="connsiteY25" fmla="*/ 180871 h 2231543"/>
                  <a:gd name="connsiteX26" fmla="*/ 3798277 w 5933552"/>
                  <a:gd name="connsiteY26" fmla="*/ 316524 h 2231543"/>
                  <a:gd name="connsiteX27" fmla="*/ 4210259 w 5933552"/>
                  <a:gd name="connsiteY27" fmla="*/ 542612 h 2231543"/>
                  <a:gd name="connsiteX28" fmla="*/ 4340888 w 5933552"/>
                  <a:gd name="connsiteY28" fmla="*/ 622999 h 2231543"/>
                  <a:gd name="connsiteX29" fmla="*/ 4381081 w 5933552"/>
                  <a:gd name="connsiteY29" fmla="*/ 653144 h 2231543"/>
                  <a:gd name="connsiteX30" fmla="*/ 4752870 w 5933552"/>
                  <a:gd name="connsiteY30" fmla="*/ 683289 h 2231543"/>
                  <a:gd name="connsiteX31" fmla="*/ 5164853 w 5933552"/>
                  <a:gd name="connsiteY31" fmla="*/ 758651 h 2231543"/>
                  <a:gd name="connsiteX32" fmla="*/ 5441182 w 5933552"/>
                  <a:gd name="connsiteY32" fmla="*/ 823966 h 2231543"/>
                  <a:gd name="connsiteX33" fmla="*/ 5612004 w 5933552"/>
                  <a:gd name="connsiteY33" fmla="*/ 899328 h 2231543"/>
                  <a:gd name="connsiteX34" fmla="*/ 5807947 w 5933552"/>
                  <a:gd name="connsiteY34" fmla="*/ 1045029 h 2231543"/>
                  <a:gd name="connsiteX35" fmla="*/ 5823020 w 5933552"/>
                  <a:gd name="connsiteY35" fmla="*/ 1115368 h 2231543"/>
                  <a:gd name="connsiteX36" fmla="*/ 5838092 w 5933552"/>
                  <a:gd name="connsiteY36" fmla="*/ 1215851 h 2231543"/>
                  <a:gd name="connsiteX37" fmla="*/ 5823020 w 5933552"/>
                  <a:gd name="connsiteY37" fmla="*/ 1245996 h 2231543"/>
                  <a:gd name="connsiteX38" fmla="*/ 5863213 w 5933552"/>
                  <a:gd name="connsiteY38" fmla="*/ 1296238 h 2231543"/>
                  <a:gd name="connsiteX39" fmla="*/ 5893358 w 5933552"/>
                  <a:gd name="connsiteY39" fmla="*/ 1356528 h 2231543"/>
                  <a:gd name="connsiteX40" fmla="*/ 5893358 w 5933552"/>
                  <a:gd name="connsiteY40" fmla="*/ 1431891 h 2231543"/>
                  <a:gd name="connsiteX41" fmla="*/ 5928527 w 5933552"/>
                  <a:gd name="connsiteY41" fmla="*/ 1492181 h 2231543"/>
                  <a:gd name="connsiteX42" fmla="*/ 5918479 w 5933552"/>
                  <a:gd name="connsiteY42" fmla="*/ 1602713 h 2231543"/>
                  <a:gd name="connsiteX43" fmla="*/ 5898382 w 5933552"/>
                  <a:gd name="connsiteY43" fmla="*/ 1683100 h 2231543"/>
                  <a:gd name="connsiteX44" fmla="*/ 5918479 w 5933552"/>
                  <a:gd name="connsiteY44" fmla="*/ 1773535 h 2231543"/>
                  <a:gd name="connsiteX45" fmla="*/ 5933552 w 5933552"/>
                  <a:gd name="connsiteY45" fmla="*/ 1808704 h 2231543"/>
                  <a:gd name="connsiteX46" fmla="*/ 5812971 w 5933552"/>
                  <a:gd name="connsiteY46" fmla="*/ 1868994 h 2231543"/>
                  <a:gd name="connsiteX47" fmla="*/ 5812971 w 5933552"/>
                  <a:gd name="connsiteY47" fmla="*/ 1868994 h 2231543"/>
                  <a:gd name="connsiteX48" fmla="*/ 5727560 w 5933552"/>
                  <a:gd name="connsiteY48" fmla="*/ 1929284 h 2231543"/>
                  <a:gd name="connsiteX49" fmla="*/ 5390941 w 5933552"/>
                  <a:gd name="connsiteY49" fmla="*/ 1934309 h 2231543"/>
                  <a:gd name="connsiteX50" fmla="*/ 5215670 w 5933552"/>
                  <a:gd name="connsiteY50" fmla="*/ 1932917 h 2231543"/>
                  <a:gd name="connsiteX51" fmla="*/ 4373414 w 5933552"/>
                  <a:gd name="connsiteY51" fmla="*/ 1914260 h 2231543"/>
                  <a:gd name="connsiteX52" fmla="*/ 1498817 w 5933552"/>
                  <a:gd name="connsiteY52" fmla="*/ 1888865 h 2231543"/>
                  <a:gd name="connsiteX53" fmla="*/ 619914 w 5933552"/>
                  <a:gd name="connsiteY53" fmla="*/ 1833825 h 2231543"/>
                  <a:gd name="connsiteX54" fmla="*/ 281354 w 5933552"/>
                  <a:gd name="connsiteY54" fmla="*/ 1833825 h 2231543"/>
                  <a:gd name="connsiteX55" fmla="*/ 130629 w 5933552"/>
                  <a:gd name="connsiteY55" fmla="*/ 1758462 h 2231543"/>
                  <a:gd name="connsiteX56" fmla="*/ 10048 w 5933552"/>
                  <a:gd name="connsiteY56" fmla="*/ 1678076 h 2231543"/>
                  <a:gd name="connsiteX57" fmla="*/ 0 w 5933552"/>
                  <a:gd name="connsiteY57" fmla="*/ 1537399 h 2231543"/>
                  <a:gd name="connsiteX58" fmla="*/ 15072 w 5933552"/>
                  <a:gd name="connsiteY58" fmla="*/ 1487157 h 2231543"/>
                  <a:gd name="connsiteX59" fmla="*/ 15072 w 5933552"/>
                  <a:gd name="connsiteY59" fmla="*/ 1431891 h 2231543"/>
                  <a:gd name="connsiteX60" fmla="*/ 25121 w 5933552"/>
                  <a:gd name="connsiteY60" fmla="*/ 1381649 h 2231543"/>
                  <a:gd name="connsiteX61" fmla="*/ 40193 w 5933552"/>
                  <a:gd name="connsiteY61" fmla="*/ 1356528 h 2231543"/>
                  <a:gd name="connsiteX62" fmla="*/ 65314 w 5933552"/>
                  <a:gd name="connsiteY62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070149 w 5933552"/>
                  <a:gd name="connsiteY18" fmla="*/ 30146 h 2231543"/>
                  <a:gd name="connsiteX19" fmla="*/ 164538 w 5933552"/>
                  <a:gd name="connsiteY19" fmla="*/ 56488 h 2231543"/>
                  <a:gd name="connsiteX20" fmla="*/ 2306097 w 5933552"/>
                  <a:gd name="connsiteY20" fmla="*/ 1 h 2231543"/>
                  <a:gd name="connsiteX21" fmla="*/ 3029578 w 5933552"/>
                  <a:gd name="connsiteY21" fmla="*/ 55267 h 2231543"/>
                  <a:gd name="connsiteX22" fmla="*/ 3135086 w 5933552"/>
                  <a:gd name="connsiteY22" fmla="*/ 75364 h 2231543"/>
                  <a:gd name="connsiteX23" fmla="*/ 3255666 w 5933552"/>
                  <a:gd name="connsiteY23" fmla="*/ 95460 h 2231543"/>
                  <a:gd name="connsiteX24" fmla="*/ 3542044 w 5933552"/>
                  <a:gd name="connsiteY24" fmla="*/ 180871 h 2231543"/>
                  <a:gd name="connsiteX25" fmla="*/ 3798277 w 5933552"/>
                  <a:gd name="connsiteY25" fmla="*/ 316524 h 2231543"/>
                  <a:gd name="connsiteX26" fmla="*/ 4210259 w 5933552"/>
                  <a:gd name="connsiteY26" fmla="*/ 542612 h 2231543"/>
                  <a:gd name="connsiteX27" fmla="*/ 4340888 w 5933552"/>
                  <a:gd name="connsiteY27" fmla="*/ 622999 h 2231543"/>
                  <a:gd name="connsiteX28" fmla="*/ 4381081 w 5933552"/>
                  <a:gd name="connsiteY28" fmla="*/ 653144 h 2231543"/>
                  <a:gd name="connsiteX29" fmla="*/ 4752870 w 5933552"/>
                  <a:gd name="connsiteY29" fmla="*/ 683289 h 2231543"/>
                  <a:gd name="connsiteX30" fmla="*/ 5164853 w 5933552"/>
                  <a:gd name="connsiteY30" fmla="*/ 758651 h 2231543"/>
                  <a:gd name="connsiteX31" fmla="*/ 5441182 w 5933552"/>
                  <a:gd name="connsiteY31" fmla="*/ 823966 h 2231543"/>
                  <a:gd name="connsiteX32" fmla="*/ 5612004 w 5933552"/>
                  <a:gd name="connsiteY32" fmla="*/ 899328 h 2231543"/>
                  <a:gd name="connsiteX33" fmla="*/ 5807947 w 5933552"/>
                  <a:gd name="connsiteY33" fmla="*/ 1045029 h 2231543"/>
                  <a:gd name="connsiteX34" fmla="*/ 5823020 w 5933552"/>
                  <a:gd name="connsiteY34" fmla="*/ 1115368 h 2231543"/>
                  <a:gd name="connsiteX35" fmla="*/ 5838092 w 5933552"/>
                  <a:gd name="connsiteY35" fmla="*/ 1215851 h 2231543"/>
                  <a:gd name="connsiteX36" fmla="*/ 5823020 w 5933552"/>
                  <a:gd name="connsiteY36" fmla="*/ 1245996 h 2231543"/>
                  <a:gd name="connsiteX37" fmla="*/ 5863213 w 5933552"/>
                  <a:gd name="connsiteY37" fmla="*/ 1296238 h 2231543"/>
                  <a:gd name="connsiteX38" fmla="*/ 5893358 w 5933552"/>
                  <a:gd name="connsiteY38" fmla="*/ 1356528 h 2231543"/>
                  <a:gd name="connsiteX39" fmla="*/ 5893358 w 5933552"/>
                  <a:gd name="connsiteY39" fmla="*/ 1431891 h 2231543"/>
                  <a:gd name="connsiteX40" fmla="*/ 5928527 w 5933552"/>
                  <a:gd name="connsiteY40" fmla="*/ 1492181 h 2231543"/>
                  <a:gd name="connsiteX41" fmla="*/ 5918479 w 5933552"/>
                  <a:gd name="connsiteY41" fmla="*/ 1602713 h 2231543"/>
                  <a:gd name="connsiteX42" fmla="*/ 5898382 w 5933552"/>
                  <a:gd name="connsiteY42" fmla="*/ 1683100 h 2231543"/>
                  <a:gd name="connsiteX43" fmla="*/ 5918479 w 5933552"/>
                  <a:gd name="connsiteY43" fmla="*/ 1773535 h 2231543"/>
                  <a:gd name="connsiteX44" fmla="*/ 5933552 w 5933552"/>
                  <a:gd name="connsiteY44" fmla="*/ 1808704 h 2231543"/>
                  <a:gd name="connsiteX45" fmla="*/ 5812971 w 5933552"/>
                  <a:gd name="connsiteY45" fmla="*/ 1868994 h 2231543"/>
                  <a:gd name="connsiteX46" fmla="*/ 5812971 w 5933552"/>
                  <a:gd name="connsiteY46" fmla="*/ 1868994 h 2231543"/>
                  <a:gd name="connsiteX47" fmla="*/ 5727560 w 5933552"/>
                  <a:gd name="connsiteY47" fmla="*/ 1929284 h 2231543"/>
                  <a:gd name="connsiteX48" fmla="*/ 5390941 w 5933552"/>
                  <a:gd name="connsiteY48" fmla="*/ 1934309 h 2231543"/>
                  <a:gd name="connsiteX49" fmla="*/ 5215670 w 5933552"/>
                  <a:gd name="connsiteY49" fmla="*/ 1932917 h 2231543"/>
                  <a:gd name="connsiteX50" fmla="*/ 4373414 w 5933552"/>
                  <a:gd name="connsiteY50" fmla="*/ 1914260 h 2231543"/>
                  <a:gd name="connsiteX51" fmla="*/ 1498817 w 5933552"/>
                  <a:gd name="connsiteY51" fmla="*/ 1888865 h 2231543"/>
                  <a:gd name="connsiteX52" fmla="*/ 619914 w 5933552"/>
                  <a:gd name="connsiteY52" fmla="*/ 1833825 h 2231543"/>
                  <a:gd name="connsiteX53" fmla="*/ 281354 w 5933552"/>
                  <a:gd name="connsiteY53" fmla="*/ 1833825 h 2231543"/>
                  <a:gd name="connsiteX54" fmla="*/ 130629 w 5933552"/>
                  <a:gd name="connsiteY54" fmla="*/ 1758462 h 2231543"/>
                  <a:gd name="connsiteX55" fmla="*/ 10048 w 5933552"/>
                  <a:gd name="connsiteY55" fmla="*/ 1678076 h 2231543"/>
                  <a:gd name="connsiteX56" fmla="*/ 0 w 5933552"/>
                  <a:gd name="connsiteY56" fmla="*/ 1537399 h 2231543"/>
                  <a:gd name="connsiteX57" fmla="*/ 15072 w 5933552"/>
                  <a:gd name="connsiteY57" fmla="*/ 1487157 h 2231543"/>
                  <a:gd name="connsiteX58" fmla="*/ 15072 w 5933552"/>
                  <a:gd name="connsiteY58" fmla="*/ 1431891 h 2231543"/>
                  <a:gd name="connsiteX59" fmla="*/ 25121 w 5933552"/>
                  <a:gd name="connsiteY59" fmla="*/ 1381649 h 2231543"/>
                  <a:gd name="connsiteX60" fmla="*/ 40193 w 5933552"/>
                  <a:gd name="connsiteY60" fmla="*/ 1356528 h 2231543"/>
                  <a:gd name="connsiteX61" fmla="*/ 65314 w 5933552"/>
                  <a:gd name="connsiteY61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64538 w 5933552"/>
                  <a:gd name="connsiteY18" fmla="*/ 56488 h 2231543"/>
                  <a:gd name="connsiteX19" fmla="*/ 2306097 w 5933552"/>
                  <a:gd name="connsiteY19" fmla="*/ 1 h 2231543"/>
                  <a:gd name="connsiteX20" fmla="*/ 3029578 w 5933552"/>
                  <a:gd name="connsiteY20" fmla="*/ 55267 h 2231543"/>
                  <a:gd name="connsiteX21" fmla="*/ 3135086 w 5933552"/>
                  <a:gd name="connsiteY21" fmla="*/ 75364 h 2231543"/>
                  <a:gd name="connsiteX22" fmla="*/ 3255666 w 5933552"/>
                  <a:gd name="connsiteY22" fmla="*/ 95460 h 2231543"/>
                  <a:gd name="connsiteX23" fmla="*/ 3542044 w 5933552"/>
                  <a:gd name="connsiteY23" fmla="*/ 180871 h 2231543"/>
                  <a:gd name="connsiteX24" fmla="*/ 3798277 w 5933552"/>
                  <a:gd name="connsiteY24" fmla="*/ 316524 h 2231543"/>
                  <a:gd name="connsiteX25" fmla="*/ 4210259 w 5933552"/>
                  <a:gd name="connsiteY25" fmla="*/ 542612 h 2231543"/>
                  <a:gd name="connsiteX26" fmla="*/ 4340888 w 5933552"/>
                  <a:gd name="connsiteY26" fmla="*/ 622999 h 2231543"/>
                  <a:gd name="connsiteX27" fmla="*/ 4381081 w 5933552"/>
                  <a:gd name="connsiteY27" fmla="*/ 653144 h 2231543"/>
                  <a:gd name="connsiteX28" fmla="*/ 4752870 w 5933552"/>
                  <a:gd name="connsiteY28" fmla="*/ 683289 h 2231543"/>
                  <a:gd name="connsiteX29" fmla="*/ 5164853 w 5933552"/>
                  <a:gd name="connsiteY29" fmla="*/ 758651 h 2231543"/>
                  <a:gd name="connsiteX30" fmla="*/ 5441182 w 5933552"/>
                  <a:gd name="connsiteY30" fmla="*/ 823966 h 2231543"/>
                  <a:gd name="connsiteX31" fmla="*/ 5612004 w 5933552"/>
                  <a:gd name="connsiteY31" fmla="*/ 899328 h 2231543"/>
                  <a:gd name="connsiteX32" fmla="*/ 5807947 w 5933552"/>
                  <a:gd name="connsiteY32" fmla="*/ 1045029 h 2231543"/>
                  <a:gd name="connsiteX33" fmla="*/ 5823020 w 5933552"/>
                  <a:gd name="connsiteY33" fmla="*/ 1115368 h 2231543"/>
                  <a:gd name="connsiteX34" fmla="*/ 5838092 w 5933552"/>
                  <a:gd name="connsiteY34" fmla="*/ 1215851 h 2231543"/>
                  <a:gd name="connsiteX35" fmla="*/ 5823020 w 5933552"/>
                  <a:gd name="connsiteY35" fmla="*/ 1245996 h 2231543"/>
                  <a:gd name="connsiteX36" fmla="*/ 5863213 w 5933552"/>
                  <a:gd name="connsiteY36" fmla="*/ 1296238 h 2231543"/>
                  <a:gd name="connsiteX37" fmla="*/ 5893358 w 5933552"/>
                  <a:gd name="connsiteY37" fmla="*/ 1356528 h 2231543"/>
                  <a:gd name="connsiteX38" fmla="*/ 5893358 w 5933552"/>
                  <a:gd name="connsiteY38" fmla="*/ 1431891 h 2231543"/>
                  <a:gd name="connsiteX39" fmla="*/ 5928527 w 5933552"/>
                  <a:gd name="connsiteY39" fmla="*/ 1492181 h 2231543"/>
                  <a:gd name="connsiteX40" fmla="*/ 5918479 w 5933552"/>
                  <a:gd name="connsiteY40" fmla="*/ 1602713 h 2231543"/>
                  <a:gd name="connsiteX41" fmla="*/ 5898382 w 5933552"/>
                  <a:gd name="connsiteY41" fmla="*/ 1683100 h 2231543"/>
                  <a:gd name="connsiteX42" fmla="*/ 5918479 w 5933552"/>
                  <a:gd name="connsiteY42" fmla="*/ 1773535 h 2231543"/>
                  <a:gd name="connsiteX43" fmla="*/ 5933552 w 5933552"/>
                  <a:gd name="connsiteY43" fmla="*/ 1808704 h 2231543"/>
                  <a:gd name="connsiteX44" fmla="*/ 5812971 w 5933552"/>
                  <a:gd name="connsiteY44" fmla="*/ 1868994 h 2231543"/>
                  <a:gd name="connsiteX45" fmla="*/ 5812971 w 5933552"/>
                  <a:gd name="connsiteY45" fmla="*/ 1868994 h 2231543"/>
                  <a:gd name="connsiteX46" fmla="*/ 5727560 w 5933552"/>
                  <a:gd name="connsiteY46" fmla="*/ 1929284 h 2231543"/>
                  <a:gd name="connsiteX47" fmla="*/ 5390941 w 5933552"/>
                  <a:gd name="connsiteY47" fmla="*/ 1934309 h 2231543"/>
                  <a:gd name="connsiteX48" fmla="*/ 5215670 w 5933552"/>
                  <a:gd name="connsiteY48" fmla="*/ 1932917 h 2231543"/>
                  <a:gd name="connsiteX49" fmla="*/ 4373414 w 5933552"/>
                  <a:gd name="connsiteY49" fmla="*/ 1914260 h 2231543"/>
                  <a:gd name="connsiteX50" fmla="*/ 1498817 w 5933552"/>
                  <a:gd name="connsiteY50" fmla="*/ 1888865 h 2231543"/>
                  <a:gd name="connsiteX51" fmla="*/ 619914 w 5933552"/>
                  <a:gd name="connsiteY51" fmla="*/ 1833825 h 2231543"/>
                  <a:gd name="connsiteX52" fmla="*/ 281354 w 5933552"/>
                  <a:gd name="connsiteY52" fmla="*/ 1833825 h 2231543"/>
                  <a:gd name="connsiteX53" fmla="*/ 130629 w 5933552"/>
                  <a:gd name="connsiteY53" fmla="*/ 1758462 h 2231543"/>
                  <a:gd name="connsiteX54" fmla="*/ 10048 w 5933552"/>
                  <a:gd name="connsiteY54" fmla="*/ 1678076 h 2231543"/>
                  <a:gd name="connsiteX55" fmla="*/ 0 w 5933552"/>
                  <a:gd name="connsiteY55" fmla="*/ 1537399 h 2231543"/>
                  <a:gd name="connsiteX56" fmla="*/ 15072 w 5933552"/>
                  <a:gd name="connsiteY56" fmla="*/ 1487157 h 2231543"/>
                  <a:gd name="connsiteX57" fmla="*/ 15072 w 5933552"/>
                  <a:gd name="connsiteY57" fmla="*/ 1431891 h 2231543"/>
                  <a:gd name="connsiteX58" fmla="*/ 25121 w 5933552"/>
                  <a:gd name="connsiteY58" fmla="*/ 1381649 h 2231543"/>
                  <a:gd name="connsiteX59" fmla="*/ 40193 w 5933552"/>
                  <a:gd name="connsiteY59" fmla="*/ 1356528 h 2231543"/>
                  <a:gd name="connsiteX60" fmla="*/ 65314 w 5933552"/>
                  <a:gd name="connsiteY60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164538 w 5933552"/>
                  <a:gd name="connsiteY17" fmla="*/ 56488 h 2231543"/>
                  <a:gd name="connsiteX18" fmla="*/ 2306097 w 5933552"/>
                  <a:gd name="connsiteY18" fmla="*/ 1 h 2231543"/>
                  <a:gd name="connsiteX19" fmla="*/ 3029578 w 5933552"/>
                  <a:gd name="connsiteY19" fmla="*/ 55267 h 2231543"/>
                  <a:gd name="connsiteX20" fmla="*/ 3135086 w 5933552"/>
                  <a:gd name="connsiteY20" fmla="*/ 75364 h 2231543"/>
                  <a:gd name="connsiteX21" fmla="*/ 3255666 w 5933552"/>
                  <a:gd name="connsiteY21" fmla="*/ 95460 h 2231543"/>
                  <a:gd name="connsiteX22" fmla="*/ 3542044 w 5933552"/>
                  <a:gd name="connsiteY22" fmla="*/ 180871 h 2231543"/>
                  <a:gd name="connsiteX23" fmla="*/ 3798277 w 5933552"/>
                  <a:gd name="connsiteY23" fmla="*/ 316524 h 2231543"/>
                  <a:gd name="connsiteX24" fmla="*/ 4210259 w 5933552"/>
                  <a:gd name="connsiteY24" fmla="*/ 542612 h 2231543"/>
                  <a:gd name="connsiteX25" fmla="*/ 4340888 w 5933552"/>
                  <a:gd name="connsiteY25" fmla="*/ 622999 h 2231543"/>
                  <a:gd name="connsiteX26" fmla="*/ 4381081 w 5933552"/>
                  <a:gd name="connsiteY26" fmla="*/ 653144 h 2231543"/>
                  <a:gd name="connsiteX27" fmla="*/ 4752870 w 5933552"/>
                  <a:gd name="connsiteY27" fmla="*/ 683289 h 2231543"/>
                  <a:gd name="connsiteX28" fmla="*/ 5164853 w 5933552"/>
                  <a:gd name="connsiteY28" fmla="*/ 758651 h 2231543"/>
                  <a:gd name="connsiteX29" fmla="*/ 5441182 w 5933552"/>
                  <a:gd name="connsiteY29" fmla="*/ 823966 h 2231543"/>
                  <a:gd name="connsiteX30" fmla="*/ 5612004 w 5933552"/>
                  <a:gd name="connsiteY30" fmla="*/ 899328 h 2231543"/>
                  <a:gd name="connsiteX31" fmla="*/ 5807947 w 5933552"/>
                  <a:gd name="connsiteY31" fmla="*/ 1045029 h 2231543"/>
                  <a:gd name="connsiteX32" fmla="*/ 5823020 w 5933552"/>
                  <a:gd name="connsiteY32" fmla="*/ 1115368 h 2231543"/>
                  <a:gd name="connsiteX33" fmla="*/ 5838092 w 5933552"/>
                  <a:gd name="connsiteY33" fmla="*/ 1215851 h 2231543"/>
                  <a:gd name="connsiteX34" fmla="*/ 5823020 w 5933552"/>
                  <a:gd name="connsiteY34" fmla="*/ 1245996 h 2231543"/>
                  <a:gd name="connsiteX35" fmla="*/ 5863213 w 5933552"/>
                  <a:gd name="connsiteY35" fmla="*/ 1296238 h 2231543"/>
                  <a:gd name="connsiteX36" fmla="*/ 5893358 w 5933552"/>
                  <a:gd name="connsiteY36" fmla="*/ 1356528 h 2231543"/>
                  <a:gd name="connsiteX37" fmla="*/ 5893358 w 5933552"/>
                  <a:gd name="connsiteY37" fmla="*/ 1431891 h 2231543"/>
                  <a:gd name="connsiteX38" fmla="*/ 5928527 w 5933552"/>
                  <a:gd name="connsiteY38" fmla="*/ 1492181 h 2231543"/>
                  <a:gd name="connsiteX39" fmla="*/ 5918479 w 5933552"/>
                  <a:gd name="connsiteY39" fmla="*/ 1602713 h 2231543"/>
                  <a:gd name="connsiteX40" fmla="*/ 5898382 w 5933552"/>
                  <a:gd name="connsiteY40" fmla="*/ 1683100 h 2231543"/>
                  <a:gd name="connsiteX41" fmla="*/ 5918479 w 5933552"/>
                  <a:gd name="connsiteY41" fmla="*/ 1773535 h 2231543"/>
                  <a:gd name="connsiteX42" fmla="*/ 5933552 w 5933552"/>
                  <a:gd name="connsiteY42" fmla="*/ 1808704 h 2231543"/>
                  <a:gd name="connsiteX43" fmla="*/ 5812971 w 5933552"/>
                  <a:gd name="connsiteY43" fmla="*/ 1868994 h 2231543"/>
                  <a:gd name="connsiteX44" fmla="*/ 5812971 w 5933552"/>
                  <a:gd name="connsiteY44" fmla="*/ 1868994 h 2231543"/>
                  <a:gd name="connsiteX45" fmla="*/ 5727560 w 5933552"/>
                  <a:gd name="connsiteY45" fmla="*/ 1929284 h 2231543"/>
                  <a:gd name="connsiteX46" fmla="*/ 5390941 w 5933552"/>
                  <a:gd name="connsiteY46" fmla="*/ 1934309 h 2231543"/>
                  <a:gd name="connsiteX47" fmla="*/ 5215670 w 5933552"/>
                  <a:gd name="connsiteY47" fmla="*/ 1932917 h 2231543"/>
                  <a:gd name="connsiteX48" fmla="*/ 4373414 w 5933552"/>
                  <a:gd name="connsiteY48" fmla="*/ 1914260 h 2231543"/>
                  <a:gd name="connsiteX49" fmla="*/ 1498817 w 5933552"/>
                  <a:gd name="connsiteY49" fmla="*/ 1888865 h 2231543"/>
                  <a:gd name="connsiteX50" fmla="*/ 619914 w 5933552"/>
                  <a:gd name="connsiteY50" fmla="*/ 1833825 h 2231543"/>
                  <a:gd name="connsiteX51" fmla="*/ 281354 w 5933552"/>
                  <a:gd name="connsiteY51" fmla="*/ 1833825 h 2231543"/>
                  <a:gd name="connsiteX52" fmla="*/ 130629 w 5933552"/>
                  <a:gd name="connsiteY52" fmla="*/ 1758462 h 2231543"/>
                  <a:gd name="connsiteX53" fmla="*/ 10048 w 5933552"/>
                  <a:gd name="connsiteY53" fmla="*/ 1678076 h 2231543"/>
                  <a:gd name="connsiteX54" fmla="*/ 0 w 5933552"/>
                  <a:gd name="connsiteY54" fmla="*/ 1537399 h 2231543"/>
                  <a:gd name="connsiteX55" fmla="*/ 15072 w 5933552"/>
                  <a:gd name="connsiteY55" fmla="*/ 1487157 h 2231543"/>
                  <a:gd name="connsiteX56" fmla="*/ 15072 w 5933552"/>
                  <a:gd name="connsiteY56" fmla="*/ 1431891 h 2231543"/>
                  <a:gd name="connsiteX57" fmla="*/ 25121 w 5933552"/>
                  <a:gd name="connsiteY57" fmla="*/ 1381649 h 2231543"/>
                  <a:gd name="connsiteX58" fmla="*/ 40193 w 5933552"/>
                  <a:gd name="connsiteY58" fmla="*/ 1356528 h 2231543"/>
                  <a:gd name="connsiteX59" fmla="*/ 65314 w 5933552"/>
                  <a:gd name="connsiteY59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64538 w 5933552"/>
                  <a:gd name="connsiteY16" fmla="*/ 56488 h 2231543"/>
                  <a:gd name="connsiteX17" fmla="*/ 2306097 w 5933552"/>
                  <a:gd name="connsiteY17" fmla="*/ 1 h 2231543"/>
                  <a:gd name="connsiteX18" fmla="*/ 3029578 w 5933552"/>
                  <a:gd name="connsiteY18" fmla="*/ 55267 h 2231543"/>
                  <a:gd name="connsiteX19" fmla="*/ 3135086 w 5933552"/>
                  <a:gd name="connsiteY19" fmla="*/ 75364 h 2231543"/>
                  <a:gd name="connsiteX20" fmla="*/ 3255666 w 5933552"/>
                  <a:gd name="connsiteY20" fmla="*/ 95460 h 2231543"/>
                  <a:gd name="connsiteX21" fmla="*/ 3542044 w 5933552"/>
                  <a:gd name="connsiteY21" fmla="*/ 180871 h 2231543"/>
                  <a:gd name="connsiteX22" fmla="*/ 3798277 w 5933552"/>
                  <a:gd name="connsiteY22" fmla="*/ 316524 h 2231543"/>
                  <a:gd name="connsiteX23" fmla="*/ 4210259 w 5933552"/>
                  <a:gd name="connsiteY23" fmla="*/ 542612 h 2231543"/>
                  <a:gd name="connsiteX24" fmla="*/ 4340888 w 5933552"/>
                  <a:gd name="connsiteY24" fmla="*/ 622999 h 2231543"/>
                  <a:gd name="connsiteX25" fmla="*/ 4381081 w 5933552"/>
                  <a:gd name="connsiteY25" fmla="*/ 653144 h 2231543"/>
                  <a:gd name="connsiteX26" fmla="*/ 4752870 w 5933552"/>
                  <a:gd name="connsiteY26" fmla="*/ 683289 h 2231543"/>
                  <a:gd name="connsiteX27" fmla="*/ 5164853 w 5933552"/>
                  <a:gd name="connsiteY27" fmla="*/ 758651 h 2231543"/>
                  <a:gd name="connsiteX28" fmla="*/ 5441182 w 5933552"/>
                  <a:gd name="connsiteY28" fmla="*/ 823966 h 2231543"/>
                  <a:gd name="connsiteX29" fmla="*/ 5612004 w 5933552"/>
                  <a:gd name="connsiteY29" fmla="*/ 899328 h 2231543"/>
                  <a:gd name="connsiteX30" fmla="*/ 5807947 w 5933552"/>
                  <a:gd name="connsiteY30" fmla="*/ 1045029 h 2231543"/>
                  <a:gd name="connsiteX31" fmla="*/ 5823020 w 5933552"/>
                  <a:gd name="connsiteY31" fmla="*/ 1115368 h 2231543"/>
                  <a:gd name="connsiteX32" fmla="*/ 5838092 w 5933552"/>
                  <a:gd name="connsiteY32" fmla="*/ 1215851 h 2231543"/>
                  <a:gd name="connsiteX33" fmla="*/ 5823020 w 5933552"/>
                  <a:gd name="connsiteY33" fmla="*/ 1245996 h 2231543"/>
                  <a:gd name="connsiteX34" fmla="*/ 5863213 w 5933552"/>
                  <a:gd name="connsiteY34" fmla="*/ 1296238 h 2231543"/>
                  <a:gd name="connsiteX35" fmla="*/ 5893358 w 5933552"/>
                  <a:gd name="connsiteY35" fmla="*/ 1356528 h 2231543"/>
                  <a:gd name="connsiteX36" fmla="*/ 5893358 w 5933552"/>
                  <a:gd name="connsiteY36" fmla="*/ 1431891 h 2231543"/>
                  <a:gd name="connsiteX37" fmla="*/ 5928527 w 5933552"/>
                  <a:gd name="connsiteY37" fmla="*/ 1492181 h 2231543"/>
                  <a:gd name="connsiteX38" fmla="*/ 5918479 w 5933552"/>
                  <a:gd name="connsiteY38" fmla="*/ 1602713 h 2231543"/>
                  <a:gd name="connsiteX39" fmla="*/ 5898382 w 5933552"/>
                  <a:gd name="connsiteY39" fmla="*/ 1683100 h 2231543"/>
                  <a:gd name="connsiteX40" fmla="*/ 5918479 w 5933552"/>
                  <a:gd name="connsiteY40" fmla="*/ 1773535 h 2231543"/>
                  <a:gd name="connsiteX41" fmla="*/ 5933552 w 5933552"/>
                  <a:gd name="connsiteY41" fmla="*/ 1808704 h 2231543"/>
                  <a:gd name="connsiteX42" fmla="*/ 5812971 w 5933552"/>
                  <a:gd name="connsiteY42" fmla="*/ 1868994 h 2231543"/>
                  <a:gd name="connsiteX43" fmla="*/ 5812971 w 5933552"/>
                  <a:gd name="connsiteY43" fmla="*/ 1868994 h 2231543"/>
                  <a:gd name="connsiteX44" fmla="*/ 5727560 w 5933552"/>
                  <a:gd name="connsiteY44" fmla="*/ 1929284 h 2231543"/>
                  <a:gd name="connsiteX45" fmla="*/ 5390941 w 5933552"/>
                  <a:gd name="connsiteY45" fmla="*/ 1934309 h 2231543"/>
                  <a:gd name="connsiteX46" fmla="*/ 5215670 w 5933552"/>
                  <a:gd name="connsiteY46" fmla="*/ 1932917 h 2231543"/>
                  <a:gd name="connsiteX47" fmla="*/ 4373414 w 5933552"/>
                  <a:gd name="connsiteY47" fmla="*/ 1914260 h 2231543"/>
                  <a:gd name="connsiteX48" fmla="*/ 1498817 w 5933552"/>
                  <a:gd name="connsiteY48" fmla="*/ 1888865 h 2231543"/>
                  <a:gd name="connsiteX49" fmla="*/ 619914 w 5933552"/>
                  <a:gd name="connsiteY49" fmla="*/ 1833825 h 2231543"/>
                  <a:gd name="connsiteX50" fmla="*/ 281354 w 5933552"/>
                  <a:gd name="connsiteY50" fmla="*/ 1833825 h 2231543"/>
                  <a:gd name="connsiteX51" fmla="*/ 130629 w 5933552"/>
                  <a:gd name="connsiteY51" fmla="*/ 1758462 h 2231543"/>
                  <a:gd name="connsiteX52" fmla="*/ 10048 w 5933552"/>
                  <a:gd name="connsiteY52" fmla="*/ 1678076 h 2231543"/>
                  <a:gd name="connsiteX53" fmla="*/ 0 w 5933552"/>
                  <a:gd name="connsiteY53" fmla="*/ 1537399 h 2231543"/>
                  <a:gd name="connsiteX54" fmla="*/ 15072 w 5933552"/>
                  <a:gd name="connsiteY54" fmla="*/ 1487157 h 2231543"/>
                  <a:gd name="connsiteX55" fmla="*/ 15072 w 5933552"/>
                  <a:gd name="connsiteY55" fmla="*/ 1431891 h 2231543"/>
                  <a:gd name="connsiteX56" fmla="*/ 25121 w 5933552"/>
                  <a:gd name="connsiteY56" fmla="*/ 1381649 h 2231543"/>
                  <a:gd name="connsiteX57" fmla="*/ 40193 w 5933552"/>
                  <a:gd name="connsiteY57" fmla="*/ 1356528 h 2231543"/>
                  <a:gd name="connsiteX58" fmla="*/ 65314 w 5933552"/>
                  <a:gd name="connsiteY58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164538 w 5933552"/>
                  <a:gd name="connsiteY15" fmla="*/ 56488 h 2231543"/>
                  <a:gd name="connsiteX16" fmla="*/ 2306097 w 5933552"/>
                  <a:gd name="connsiteY16" fmla="*/ 1 h 2231543"/>
                  <a:gd name="connsiteX17" fmla="*/ 3029578 w 5933552"/>
                  <a:gd name="connsiteY17" fmla="*/ 55267 h 2231543"/>
                  <a:gd name="connsiteX18" fmla="*/ 3135086 w 5933552"/>
                  <a:gd name="connsiteY18" fmla="*/ 75364 h 2231543"/>
                  <a:gd name="connsiteX19" fmla="*/ 3255666 w 5933552"/>
                  <a:gd name="connsiteY19" fmla="*/ 95460 h 2231543"/>
                  <a:gd name="connsiteX20" fmla="*/ 3542044 w 5933552"/>
                  <a:gd name="connsiteY20" fmla="*/ 180871 h 2231543"/>
                  <a:gd name="connsiteX21" fmla="*/ 3798277 w 5933552"/>
                  <a:gd name="connsiteY21" fmla="*/ 316524 h 2231543"/>
                  <a:gd name="connsiteX22" fmla="*/ 4210259 w 5933552"/>
                  <a:gd name="connsiteY22" fmla="*/ 542612 h 2231543"/>
                  <a:gd name="connsiteX23" fmla="*/ 4340888 w 5933552"/>
                  <a:gd name="connsiteY23" fmla="*/ 622999 h 2231543"/>
                  <a:gd name="connsiteX24" fmla="*/ 4381081 w 5933552"/>
                  <a:gd name="connsiteY24" fmla="*/ 653144 h 2231543"/>
                  <a:gd name="connsiteX25" fmla="*/ 4752870 w 5933552"/>
                  <a:gd name="connsiteY25" fmla="*/ 683289 h 2231543"/>
                  <a:gd name="connsiteX26" fmla="*/ 5164853 w 5933552"/>
                  <a:gd name="connsiteY26" fmla="*/ 758651 h 2231543"/>
                  <a:gd name="connsiteX27" fmla="*/ 5441182 w 5933552"/>
                  <a:gd name="connsiteY27" fmla="*/ 823966 h 2231543"/>
                  <a:gd name="connsiteX28" fmla="*/ 5612004 w 5933552"/>
                  <a:gd name="connsiteY28" fmla="*/ 899328 h 2231543"/>
                  <a:gd name="connsiteX29" fmla="*/ 5807947 w 5933552"/>
                  <a:gd name="connsiteY29" fmla="*/ 1045029 h 2231543"/>
                  <a:gd name="connsiteX30" fmla="*/ 5823020 w 5933552"/>
                  <a:gd name="connsiteY30" fmla="*/ 1115368 h 2231543"/>
                  <a:gd name="connsiteX31" fmla="*/ 5838092 w 5933552"/>
                  <a:gd name="connsiteY31" fmla="*/ 1215851 h 2231543"/>
                  <a:gd name="connsiteX32" fmla="*/ 5823020 w 5933552"/>
                  <a:gd name="connsiteY32" fmla="*/ 1245996 h 2231543"/>
                  <a:gd name="connsiteX33" fmla="*/ 5863213 w 5933552"/>
                  <a:gd name="connsiteY33" fmla="*/ 1296238 h 2231543"/>
                  <a:gd name="connsiteX34" fmla="*/ 5893358 w 5933552"/>
                  <a:gd name="connsiteY34" fmla="*/ 1356528 h 2231543"/>
                  <a:gd name="connsiteX35" fmla="*/ 5893358 w 5933552"/>
                  <a:gd name="connsiteY35" fmla="*/ 1431891 h 2231543"/>
                  <a:gd name="connsiteX36" fmla="*/ 5928527 w 5933552"/>
                  <a:gd name="connsiteY36" fmla="*/ 1492181 h 2231543"/>
                  <a:gd name="connsiteX37" fmla="*/ 5918479 w 5933552"/>
                  <a:gd name="connsiteY37" fmla="*/ 1602713 h 2231543"/>
                  <a:gd name="connsiteX38" fmla="*/ 5898382 w 5933552"/>
                  <a:gd name="connsiteY38" fmla="*/ 1683100 h 2231543"/>
                  <a:gd name="connsiteX39" fmla="*/ 5918479 w 5933552"/>
                  <a:gd name="connsiteY39" fmla="*/ 1773535 h 2231543"/>
                  <a:gd name="connsiteX40" fmla="*/ 5933552 w 5933552"/>
                  <a:gd name="connsiteY40" fmla="*/ 1808704 h 2231543"/>
                  <a:gd name="connsiteX41" fmla="*/ 5812971 w 5933552"/>
                  <a:gd name="connsiteY41" fmla="*/ 1868994 h 2231543"/>
                  <a:gd name="connsiteX42" fmla="*/ 5812971 w 5933552"/>
                  <a:gd name="connsiteY42" fmla="*/ 1868994 h 2231543"/>
                  <a:gd name="connsiteX43" fmla="*/ 5727560 w 5933552"/>
                  <a:gd name="connsiteY43" fmla="*/ 1929284 h 2231543"/>
                  <a:gd name="connsiteX44" fmla="*/ 5390941 w 5933552"/>
                  <a:gd name="connsiteY44" fmla="*/ 1934309 h 2231543"/>
                  <a:gd name="connsiteX45" fmla="*/ 5215670 w 5933552"/>
                  <a:gd name="connsiteY45" fmla="*/ 1932917 h 2231543"/>
                  <a:gd name="connsiteX46" fmla="*/ 4373414 w 5933552"/>
                  <a:gd name="connsiteY46" fmla="*/ 1914260 h 2231543"/>
                  <a:gd name="connsiteX47" fmla="*/ 1498817 w 5933552"/>
                  <a:gd name="connsiteY47" fmla="*/ 1888865 h 2231543"/>
                  <a:gd name="connsiteX48" fmla="*/ 619914 w 5933552"/>
                  <a:gd name="connsiteY48" fmla="*/ 1833825 h 2231543"/>
                  <a:gd name="connsiteX49" fmla="*/ 281354 w 5933552"/>
                  <a:gd name="connsiteY49" fmla="*/ 1833825 h 2231543"/>
                  <a:gd name="connsiteX50" fmla="*/ 130629 w 5933552"/>
                  <a:gd name="connsiteY50" fmla="*/ 1758462 h 2231543"/>
                  <a:gd name="connsiteX51" fmla="*/ 10048 w 5933552"/>
                  <a:gd name="connsiteY51" fmla="*/ 1678076 h 2231543"/>
                  <a:gd name="connsiteX52" fmla="*/ 0 w 5933552"/>
                  <a:gd name="connsiteY52" fmla="*/ 1537399 h 2231543"/>
                  <a:gd name="connsiteX53" fmla="*/ 15072 w 5933552"/>
                  <a:gd name="connsiteY53" fmla="*/ 1487157 h 2231543"/>
                  <a:gd name="connsiteX54" fmla="*/ 15072 w 5933552"/>
                  <a:gd name="connsiteY54" fmla="*/ 1431891 h 2231543"/>
                  <a:gd name="connsiteX55" fmla="*/ 25121 w 5933552"/>
                  <a:gd name="connsiteY55" fmla="*/ 1381649 h 2231543"/>
                  <a:gd name="connsiteX56" fmla="*/ 40193 w 5933552"/>
                  <a:gd name="connsiteY56" fmla="*/ 1356528 h 2231543"/>
                  <a:gd name="connsiteX57" fmla="*/ 65314 w 5933552"/>
                  <a:gd name="connsiteY57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164538 w 5933552"/>
                  <a:gd name="connsiteY14" fmla="*/ 56488 h 2231543"/>
                  <a:gd name="connsiteX15" fmla="*/ 2306097 w 5933552"/>
                  <a:gd name="connsiteY15" fmla="*/ 1 h 2231543"/>
                  <a:gd name="connsiteX16" fmla="*/ 3029578 w 5933552"/>
                  <a:gd name="connsiteY16" fmla="*/ 55267 h 2231543"/>
                  <a:gd name="connsiteX17" fmla="*/ 3135086 w 5933552"/>
                  <a:gd name="connsiteY17" fmla="*/ 75364 h 2231543"/>
                  <a:gd name="connsiteX18" fmla="*/ 3255666 w 5933552"/>
                  <a:gd name="connsiteY18" fmla="*/ 95460 h 2231543"/>
                  <a:gd name="connsiteX19" fmla="*/ 3542044 w 5933552"/>
                  <a:gd name="connsiteY19" fmla="*/ 180871 h 2231543"/>
                  <a:gd name="connsiteX20" fmla="*/ 3798277 w 5933552"/>
                  <a:gd name="connsiteY20" fmla="*/ 316524 h 2231543"/>
                  <a:gd name="connsiteX21" fmla="*/ 4210259 w 5933552"/>
                  <a:gd name="connsiteY21" fmla="*/ 542612 h 2231543"/>
                  <a:gd name="connsiteX22" fmla="*/ 4340888 w 5933552"/>
                  <a:gd name="connsiteY22" fmla="*/ 622999 h 2231543"/>
                  <a:gd name="connsiteX23" fmla="*/ 4381081 w 5933552"/>
                  <a:gd name="connsiteY23" fmla="*/ 653144 h 2231543"/>
                  <a:gd name="connsiteX24" fmla="*/ 4752870 w 5933552"/>
                  <a:gd name="connsiteY24" fmla="*/ 683289 h 2231543"/>
                  <a:gd name="connsiteX25" fmla="*/ 5164853 w 5933552"/>
                  <a:gd name="connsiteY25" fmla="*/ 758651 h 2231543"/>
                  <a:gd name="connsiteX26" fmla="*/ 5441182 w 5933552"/>
                  <a:gd name="connsiteY26" fmla="*/ 823966 h 2231543"/>
                  <a:gd name="connsiteX27" fmla="*/ 5612004 w 5933552"/>
                  <a:gd name="connsiteY27" fmla="*/ 899328 h 2231543"/>
                  <a:gd name="connsiteX28" fmla="*/ 5807947 w 5933552"/>
                  <a:gd name="connsiteY28" fmla="*/ 1045029 h 2231543"/>
                  <a:gd name="connsiteX29" fmla="*/ 5823020 w 5933552"/>
                  <a:gd name="connsiteY29" fmla="*/ 1115368 h 2231543"/>
                  <a:gd name="connsiteX30" fmla="*/ 5838092 w 5933552"/>
                  <a:gd name="connsiteY30" fmla="*/ 1215851 h 2231543"/>
                  <a:gd name="connsiteX31" fmla="*/ 5823020 w 5933552"/>
                  <a:gd name="connsiteY31" fmla="*/ 1245996 h 2231543"/>
                  <a:gd name="connsiteX32" fmla="*/ 5863213 w 5933552"/>
                  <a:gd name="connsiteY32" fmla="*/ 1296238 h 2231543"/>
                  <a:gd name="connsiteX33" fmla="*/ 5893358 w 5933552"/>
                  <a:gd name="connsiteY33" fmla="*/ 1356528 h 2231543"/>
                  <a:gd name="connsiteX34" fmla="*/ 5893358 w 5933552"/>
                  <a:gd name="connsiteY34" fmla="*/ 1431891 h 2231543"/>
                  <a:gd name="connsiteX35" fmla="*/ 5928527 w 5933552"/>
                  <a:gd name="connsiteY35" fmla="*/ 1492181 h 2231543"/>
                  <a:gd name="connsiteX36" fmla="*/ 5918479 w 5933552"/>
                  <a:gd name="connsiteY36" fmla="*/ 1602713 h 2231543"/>
                  <a:gd name="connsiteX37" fmla="*/ 5898382 w 5933552"/>
                  <a:gd name="connsiteY37" fmla="*/ 1683100 h 2231543"/>
                  <a:gd name="connsiteX38" fmla="*/ 5918479 w 5933552"/>
                  <a:gd name="connsiteY38" fmla="*/ 1773535 h 2231543"/>
                  <a:gd name="connsiteX39" fmla="*/ 5933552 w 5933552"/>
                  <a:gd name="connsiteY39" fmla="*/ 1808704 h 2231543"/>
                  <a:gd name="connsiteX40" fmla="*/ 5812971 w 5933552"/>
                  <a:gd name="connsiteY40" fmla="*/ 1868994 h 2231543"/>
                  <a:gd name="connsiteX41" fmla="*/ 5812971 w 5933552"/>
                  <a:gd name="connsiteY41" fmla="*/ 1868994 h 2231543"/>
                  <a:gd name="connsiteX42" fmla="*/ 5727560 w 5933552"/>
                  <a:gd name="connsiteY42" fmla="*/ 1929284 h 2231543"/>
                  <a:gd name="connsiteX43" fmla="*/ 5390941 w 5933552"/>
                  <a:gd name="connsiteY43" fmla="*/ 1934309 h 2231543"/>
                  <a:gd name="connsiteX44" fmla="*/ 5215670 w 5933552"/>
                  <a:gd name="connsiteY44" fmla="*/ 1932917 h 2231543"/>
                  <a:gd name="connsiteX45" fmla="*/ 4373414 w 5933552"/>
                  <a:gd name="connsiteY45" fmla="*/ 1914260 h 2231543"/>
                  <a:gd name="connsiteX46" fmla="*/ 1498817 w 5933552"/>
                  <a:gd name="connsiteY46" fmla="*/ 1888865 h 2231543"/>
                  <a:gd name="connsiteX47" fmla="*/ 619914 w 5933552"/>
                  <a:gd name="connsiteY47" fmla="*/ 1833825 h 2231543"/>
                  <a:gd name="connsiteX48" fmla="*/ 281354 w 5933552"/>
                  <a:gd name="connsiteY48" fmla="*/ 1833825 h 2231543"/>
                  <a:gd name="connsiteX49" fmla="*/ 130629 w 5933552"/>
                  <a:gd name="connsiteY49" fmla="*/ 1758462 h 2231543"/>
                  <a:gd name="connsiteX50" fmla="*/ 10048 w 5933552"/>
                  <a:gd name="connsiteY50" fmla="*/ 1678076 h 2231543"/>
                  <a:gd name="connsiteX51" fmla="*/ 0 w 5933552"/>
                  <a:gd name="connsiteY51" fmla="*/ 1537399 h 2231543"/>
                  <a:gd name="connsiteX52" fmla="*/ 15072 w 5933552"/>
                  <a:gd name="connsiteY52" fmla="*/ 1487157 h 2231543"/>
                  <a:gd name="connsiteX53" fmla="*/ 15072 w 5933552"/>
                  <a:gd name="connsiteY53" fmla="*/ 1431891 h 2231543"/>
                  <a:gd name="connsiteX54" fmla="*/ 25121 w 5933552"/>
                  <a:gd name="connsiteY54" fmla="*/ 1381649 h 2231543"/>
                  <a:gd name="connsiteX55" fmla="*/ 40193 w 5933552"/>
                  <a:gd name="connsiteY55" fmla="*/ 1356528 h 2231543"/>
                  <a:gd name="connsiteX56" fmla="*/ 65314 w 5933552"/>
                  <a:gd name="connsiteY56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164538 w 5933552"/>
                  <a:gd name="connsiteY13" fmla="*/ 56488 h 2231543"/>
                  <a:gd name="connsiteX14" fmla="*/ 2306097 w 5933552"/>
                  <a:gd name="connsiteY14" fmla="*/ 1 h 2231543"/>
                  <a:gd name="connsiteX15" fmla="*/ 3029578 w 5933552"/>
                  <a:gd name="connsiteY15" fmla="*/ 55267 h 2231543"/>
                  <a:gd name="connsiteX16" fmla="*/ 3135086 w 5933552"/>
                  <a:gd name="connsiteY16" fmla="*/ 75364 h 2231543"/>
                  <a:gd name="connsiteX17" fmla="*/ 3255666 w 5933552"/>
                  <a:gd name="connsiteY17" fmla="*/ 95460 h 2231543"/>
                  <a:gd name="connsiteX18" fmla="*/ 3542044 w 5933552"/>
                  <a:gd name="connsiteY18" fmla="*/ 180871 h 2231543"/>
                  <a:gd name="connsiteX19" fmla="*/ 3798277 w 5933552"/>
                  <a:gd name="connsiteY19" fmla="*/ 316524 h 2231543"/>
                  <a:gd name="connsiteX20" fmla="*/ 4210259 w 5933552"/>
                  <a:gd name="connsiteY20" fmla="*/ 542612 h 2231543"/>
                  <a:gd name="connsiteX21" fmla="*/ 4340888 w 5933552"/>
                  <a:gd name="connsiteY21" fmla="*/ 622999 h 2231543"/>
                  <a:gd name="connsiteX22" fmla="*/ 4381081 w 5933552"/>
                  <a:gd name="connsiteY22" fmla="*/ 653144 h 2231543"/>
                  <a:gd name="connsiteX23" fmla="*/ 4752870 w 5933552"/>
                  <a:gd name="connsiteY23" fmla="*/ 683289 h 2231543"/>
                  <a:gd name="connsiteX24" fmla="*/ 5164853 w 5933552"/>
                  <a:gd name="connsiteY24" fmla="*/ 758651 h 2231543"/>
                  <a:gd name="connsiteX25" fmla="*/ 5441182 w 5933552"/>
                  <a:gd name="connsiteY25" fmla="*/ 823966 h 2231543"/>
                  <a:gd name="connsiteX26" fmla="*/ 5612004 w 5933552"/>
                  <a:gd name="connsiteY26" fmla="*/ 899328 h 2231543"/>
                  <a:gd name="connsiteX27" fmla="*/ 5807947 w 5933552"/>
                  <a:gd name="connsiteY27" fmla="*/ 1045029 h 2231543"/>
                  <a:gd name="connsiteX28" fmla="*/ 5823020 w 5933552"/>
                  <a:gd name="connsiteY28" fmla="*/ 1115368 h 2231543"/>
                  <a:gd name="connsiteX29" fmla="*/ 5838092 w 5933552"/>
                  <a:gd name="connsiteY29" fmla="*/ 1215851 h 2231543"/>
                  <a:gd name="connsiteX30" fmla="*/ 5823020 w 5933552"/>
                  <a:gd name="connsiteY30" fmla="*/ 1245996 h 2231543"/>
                  <a:gd name="connsiteX31" fmla="*/ 5863213 w 5933552"/>
                  <a:gd name="connsiteY31" fmla="*/ 1296238 h 2231543"/>
                  <a:gd name="connsiteX32" fmla="*/ 5893358 w 5933552"/>
                  <a:gd name="connsiteY32" fmla="*/ 1356528 h 2231543"/>
                  <a:gd name="connsiteX33" fmla="*/ 5893358 w 5933552"/>
                  <a:gd name="connsiteY33" fmla="*/ 1431891 h 2231543"/>
                  <a:gd name="connsiteX34" fmla="*/ 5928527 w 5933552"/>
                  <a:gd name="connsiteY34" fmla="*/ 1492181 h 2231543"/>
                  <a:gd name="connsiteX35" fmla="*/ 5918479 w 5933552"/>
                  <a:gd name="connsiteY35" fmla="*/ 1602713 h 2231543"/>
                  <a:gd name="connsiteX36" fmla="*/ 5898382 w 5933552"/>
                  <a:gd name="connsiteY36" fmla="*/ 1683100 h 2231543"/>
                  <a:gd name="connsiteX37" fmla="*/ 5918479 w 5933552"/>
                  <a:gd name="connsiteY37" fmla="*/ 1773535 h 2231543"/>
                  <a:gd name="connsiteX38" fmla="*/ 5933552 w 5933552"/>
                  <a:gd name="connsiteY38" fmla="*/ 1808704 h 2231543"/>
                  <a:gd name="connsiteX39" fmla="*/ 5812971 w 5933552"/>
                  <a:gd name="connsiteY39" fmla="*/ 1868994 h 2231543"/>
                  <a:gd name="connsiteX40" fmla="*/ 5812971 w 5933552"/>
                  <a:gd name="connsiteY40" fmla="*/ 1868994 h 2231543"/>
                  <a:gd name="connsiteX41" fmla="*/ 5727560 w 5933552"/>
                  <a:gd name="connsiteY41" fmla="*/ 1929284 h 2231543"/>
                  <a:gd name="connsiteX42" fmla="*/ 5390941 w 5933552"/>
                  <a:gd name="connsiteY42" fmla="*/ 1934309 h 2231543"/>
                  <a:gd name="connsiteX43" fmla="*/ 5215670 w 5933552"/>
                  <a:gd name="connsiteY43" fmla="*/ 1932917 h 2231543"/>
                  <a:gd name="connsiteX44" fmla="*/ 4373414 w 5933552"/>
                  <a:gd name="connsiteY44" fmla="*/ 1914260 h 2231543"/>
                  <a:gd name="connsiteX45" fmla="*/ 1498817 w 5933552"/>
                  <a:gd name="connsiteY45" fmla="*/ 1888865 h 2231543"/>
                  <a:gd name="connsiteX46" fmla="*/ 619914 w 5933552"/>
                  <a:gd name="connsiteY46" fmla="*/ 1833825 h 2231543"/>
                  <a:gd name="connsiteX47" fmla="*/ 281354 w 5933552"/>
                  <a:gd name="connsiteY47" fmla="*/ 1833825 h 2231543"/>
                  <a:gd name="connsiteX48" fmla="*/ 130629 w 5933552"/>
                  <a:gd name="connsiteY48" fmla="*/ 1758462 h 2231543"/>
                  <a:gd name="connsiteX49" fmla="*/ 10048 w 5933552"/>
                  <a:gd name="connsiteY49" fmla="*/ 1678076 h 2231543"/>
                  <a:gd name="connsiteX50" fmla="*/ 0 w 5933552"/>
                  <a:gd name="connsiteY50" fmla="*/ 1537399 h 2231543"/>
                  <a:gd name="connsiteX51" fmla="*/ 15072 w 5933552"/>
                  <a:gd name="connsiteY51" fmla="*/ 1487157 h 2231543"/>
                  <a:gd name="connsiteX52" fmla="*/ 15072 w 5933552"/>
                  <a:gd name="connsiteY52" fmla="*/ 1431891 h 2231543"/>
                  <a:gd name="connsiteX53" fmla="*/ 25121 w 5933552"/>
                  <a:gd name="connsiteY53" fmla="*/ 1381649 h 2231543"/>
                  <a:gd name="connsiteX54" fmla="*/ 40193 w 5933552"/>
                  <a:gd name="connsiteY54" fmla="*/ 1356528 h 2231543"/>
                  <a:gd name="connsiteX55" fmla="*/ 65314 w 5933552"/>
                  <a:gd name="connsiteY55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164538 w 5933552"/>
                  <a:gd name="connsiteY12" fmla="*/ 56488 h 2231543"/>
                  <a:gd name="connsiteX13" fmla="*/ 2306097 w 5933552"/>
                  <a:gd name="connsiteY13" fmla="*/ 1 h 2231543"/>
                  <a:gd name="connsiteX14" fmla="*/ 3029578 w 5933552"/>
                  <a:gd name="connsiteY14" fmla="*/ 55267 h 2231543"/>
                  <a:gd name="connsiteX15" fmla="*/ 3135086 w 5933552"/>
                  <a:gd name="connsiteY15" fmla="*/ 75364 h 2231543"/>
                  <a:gd name="connsiteX16" fmla="*/ 3255666 w 5933552"/>
                  <a:gd name="connsiteY16" fmla="*/ 95460 h 2231543"/>
                  <a:gd name="connsiteX17" fmla="*/ 3542044 w 5933552"/>
                  <a:gd name="connsiteY17" fmla="*/ 180871 h 2231543"/>
                  <a:gd name="connsiteX18" fmla="*/ 3798277 w 5933552"/>
                  <a:gd name="connsiteY18" fmla="*/ 316524 h 2231543"/>
                  <a:gd name="connsiteX19" fmla="*/ 4210259 w 5933552"/>
                  <a:gd name="connsiteY19" fmla="*/ 542612 h 2231543"/>
                  <a:gd name="connsiteX20" fmla="*/ 4340888 w 5933552"/>
                  <a:gd name="connsiteY20" fmla="*/ 622999 h 2231543"/>
                  <a:gd name="connsiteX21" fmla="*/ 4381081 w 5933552"/>
                  <a:gd name="connsiteY21" fmla="*/ 653144 h 2231543"/>
                  <a:gd name="connsiteX22" fmla="*/ 4752870 w 5933552"/>
                  <a:gd name="connsiteY22" fmla="*/ 683289 h 2231543"/>
                  <a:gd name="connsiteX23" fmla="*/ 5164853 w 5933552"/>
                  <a:gd name="connsiteY23" fmla="*/ 758651 h 2231543"/>
                  <a:gd name="connsiteX24" fmla="*/ 5441182 w 5933552"/>
                  <a:gd name="connsiteY24" fmla="*/ 823966 h 2231543"/>
                  <a:gd name="connsiteX25" fmla="*/ 5612004 w 5933552"/>
                  <a:gd name="connsiteY25" fmla="*/ 899328 h 2231543"/>
                  <a:gd name="connsiteX26" fmla="*/ 5807947 w 5933552"/>
                  <a:gd name="connsiteY26" fmla="*/ 1045029 h 2231543"/>
                  <a:gd name="connsiteX27" fmla="*/ 5823020 w 5933552"/>
                  <a:gd name="connsiteY27" fmla="*/ 1115368 h 2231543"/>
                  <a:gd name="connsiteX28" fmla="*/ 5838092 w 5933552"/>
                  <a:gd name="connsiteY28" fmla="*/ 1215851 h 2231543"/>
                  <a:gd name="connsiteX29" fmla="*/ 5823020 w 5933552"/>
                  <a:gd name="connsiteY29" fmla="*/ 1245996 h 2231543"/>
                  <a:gd name="connsiteX30" fmla="*/ 5863213 w 5933552"/>
                  <a:gd name="connsiteY30" fmla="*/ 1296238 h 2231543"/>
                  <a:gd name="connsiteX31" fmla="*/ 5893358 w 5933552"/>
                  <a:gd name="connsiteY31" fmla="*/ 1356528 h 2231543"/>
                  <a:gd name="connsiteX32" fmla="*/ 5893358 w 5933552"/>
                  <a:gd name="connsiteY32" fmla="*/ 1431891 h 2231543"/>
                  <a:gd name="connsiteX33" fmla="*/ 5928527 w 5933552"/>
                  <a:gd name="connsiteY33" fmla="*/ 1492181 h 2231543"/>
                  <a:gd name="connsiteX34" fmla="*/ 5918479 w 5933552"/>
                  <a:gd name="connsiteY34" fmla="*/ 1602713 h 2231543"/>
                  <a:gd name="connsiteX35" fmla="*/ 5898382 w 5933552"/>
                  <a:gd name="connsiteY35" fmla="*/ 1683100 h 2231543"/>
                  <a:gd name="connsiteX36" fmla="*/ 5918479 w 5933552"/>
                  <a:gd name="connsiteY36" fmla="*/ 1773535 h 2231543"/>
                  <a:gd name="connsiteX37" fmla="*/ 5933552 w 5933552"/>
                  <a:gd name="connsiteY37" fmla="*/ 1808704 h 2231543"/>
                  <a:gd name="connsiteX38" fmla="*/ 5812971 w 5933552"/>
                  <a:gd name="connsiteY38" fmla="*/ 1868994 h 2231543"/>
                  <a:gd name="connsiteX39" fmla="*/ 5812971 w 5933552"/>
                  <a:gd name="connsiteY39" fmla="*/ 1868994 h 2231543"/>
                  <a:gd name="connsiteX40" fmla="*/ 5727560 w 5933552"/>
                  <a:gd name="connsiteY40" fmla="*/ 1929284 h 2231543"/>
                  <a:gd name="connsiteX41" fmla="*/ 5390941 w 5933552"/>
                  <a:gd name="connsiteY41" fmla="*/ 1934309 h 2231543"/>
                  <a:gd name="connsiteX42" fmla="*/ 5215670 w 5933552"/>
                  <a:gd name="connsiteY42" fmla="*/ 1932917 h 2231543"/>
                  <a:gd name="connsiteX43" fmla="*/ 4373414 w 5933552"/>
                  <a:gd name="connsiteY43" fmla="*/ 1914260 h 2231543"/>
                  <a:gd name="connsiteX44" fmla="*/ 1498817 w 5933552"/>
                  <a:gd name="connsiteY44" fmla="*/ 1888865 h 2231543"/>
                  <a:gd name="connsiteX45" fmla="*/ 619914 w 5933552"/>
                  <a:gd name="connsiteY45" fmla="*/ 1833825 h 2231543"/>
                  <a:gd name="connsiteX46" fmla="*/ 281354 w 5933552"/>
                  <a:gd name="connsiteY46" fmla="*/ 1833825 h 2231543"/>
                  <a:gd name="connsiteX47" fmla="*/ 130629 w 5933552"/>
                  <a:gd name="connsiteY47" fmla="*/ 1758462 h 2231543"/>
                  <a:gd name="connsiteX48" fmla="*/ 10048 w 5933552"/>
                  <a:gd name="connsiteY48" fmla="*/ 1678076 h 2231543"/>
                  <a:gd name="connsiteX49" fmla="*/ 0 w 5933552"/>
                  <a:gd name="connsiteY49" fmla="*/ 1537399 h 2231543"/>
                  <a:gd name="connsiteX50" fmla="*/ 15072 w 5933552"/>
                  <a:gd name="connsiteY50" fmla="*/ 1487157 h 2231543"/>
                  <a:gd name="connsiteX51" fmla="*/ 15072 w 5933552"/>
                  <a:gd name="connsiteY51" fmla="*/ 1431891 h 2231543"/>
                  <a:gd name="connsiteX52" fmla="*/ 25121 w 5933552"/>
                  <a:gd name="connsiteY52" fmla="*/ 1381649 h 2231543"/>
                  <a:gd name="connsiteX53" fmla="*/ 40193 w 5933552"/>
                  <a:gd name="connsiteY53" fmla="*/ 1356528 h 2231543"/>
                  <a:gd name="connsiteX54" fmla="*/ 65314 w 5933552"/>
                  <a:gd name="connsiteY54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164538 w 5933552"/>
                  <a:gd name="connsiteY11" fmla="*/ 56488 h 2231543"/>
                  <a:gd name="connsiteX12" fmla="*/ 2306097 w 5933552"/>
                  <a:gd name="connsiteY12" fmla="*/ 1 h 2231543"/>
                  <a:gd name="connsiteX13" fmla="*/ 3029578 w 5933552"/>
                  <a:gd name="connsiteY13" fmla="*/ 55267 h 2231543"/>
                  <a:gd name="connsiteX14" fmla="*/ 3135086 w 5933552"/>
                  <a:gd name="connsiteY14" fmla="*/ 75364 h 2231543"/>
                  <a:gd name="connsiteX15" fmla="*/ 3255666 w 5933552"/>
                  <a:gd name="connsiteY15" fmla="*/ 95460 h 2231543"/>
                  <a:gd name="connsiteX16" fmla="*/ 3542044 w 5933552"/>
                  <a:gd name="connsiteY16" fmla="*/ 180871 h 2231543"/>
                  <a:gd name="connsiteX17" fmla="*/ 3798277 w 5933552"/>
                  <a:gd name="connsiteY17" fmla="*/ 316524 h 2231543"/>
                  <a:gd name="connsiteX18" fmla="*/ 4210259 w 5933552"/>
                  <a:gd name="connsiteY18" fmla="*/ 542612 h 2231543"/>
                  <a:gd name="connsiteX19" fmla="*/ 4340888 w 5933552"/>
                  <a:gd name="connsiteY19" fmla="*/ 622999 h 2231543"/>
                  <a:gd name="connsiteX20" fmla="*/ 4381081 w 5933552"/>
                  <a:gd name="connsiteY20" fmla="*/ 653144 h 2231543"/>
                  <a:gd name="connsiteX21" fmla="*/ 4752870 w 5933552"/>
                  <a:gd name="connsiteY21" fmla="*/ 683289 h 2231543"/>
                  <a:gd name="connsiteX22" fmla="*/ 5164853 w 5933552"/>
                  <a:gd name="connsiteY22" fmla="*/ 758651 h 2231543"/>
                  <a:gd name="connsiteX23" fmla="*/ 5441182 w 5933552"/>
                  <a:gd name="connsiteY23" fmla="*/ 823966 h 2231543"/>
                  <a:gd name="connsiteX24" fmla="*/ 5612004 w 5933552"/>
                  <a:gd name="connsiteY24" fmla="*/ 899328 h 2231543"/>
                  <a:gd name="connsiteX25" fmla="*/ 5807947 w 5933552"/>
                  <a:gd name="connsiteY25" fmla="*/ 1045029 h 2231543"/>
                  <a:gd name="connsiteX26" fmla="*/ 5823020 w 5933552"/>
                  <a:gd name="connsiteY26" fmla="*/ 1115368 h 2231543"/>
                  <a:gd name="connsiteX27" fmla="*/ 5838092 w 5933552"/>
                  <a:gd name="connsiteY27" fmla="*/ 1215851 h 2231543"/>
                  <a:gd name="connsiteX28" fmla="*/ 5823020 w 5933552"/>
                  <a:gd name="connsiteY28" fmla="*/ 1245996 h 2231543"/>
                  <a:gd name="connsiteX29" fmla="*/ 5863213 w 5933552"/>
                  <a:gd name="connsiteY29" fmla="*/ 1296238 h 2231543"/>
                  <a:gd name="connsiteX30" fmla="*/ 5893358 w 5933552"/>
                  <a:gd name="connsiteY30" fmla="*/ 1356528 h 2231543"/>
                  <a:gd name="connsiteX31" fmla="*/ 5893358 w 5933552"/>
                  <a:gd name="connsiteY31" fmla="*/ 1431891 h 2231543"/>
                  <a:gd name="connsiteX32" fmla="*/ 5928527 w 5933552"/>
                  <a:gd name="connsiteY32" fmla="*/ 1492181 h 2231543"/>
                  <a:gd name="connsiteX33" fmla="*/ 5918479 w 5933552"/>
                  <a:gd name="connsiteY33" fmla="*/ 1602713 h 2231543"/>
                  <a:gd name="connsiteX34" fmla="*/ 5898382 w 5933552"/>
                  <a:gd name="connsiteY34" fmla="*/ 1683100 h 2231543"/>
                  <a:gd name="connsiteX35" fmla="*/ 5918479 w 5933552"/>
                  <a:gd name="connsiteY35" fmla="*/ 1773535 h 2231543"/>
                  <a:gd name="connsiteX36" fmla="*/ 5933552 w 5933552"/>
                  <a:gd name="connsiteY36" fmla="*/ 1808704 h 2231543"/>
                  <a:gd name="connsiteX37" fmla="*/ 5812971 w 5933552"/>
                  <a:gd name="connsiteY37" fmla="*/ 1868994 h 2231543"/>
                  <a:gd name="connsiteX38" fmla="*/ 5812971 w 5933552"/>
                  <a:gd name="connsiteY38" fmla="*/ 1868994 h 2231543"/>
                  <a:gd name="connsiteX39" fmla="*/ 5727560 w 5933552"/>
                  <a:gd name="connsiteY39" fmla="*/ 1929284 h 2231543"/>
                  <a:gd name="connsiteX40" fmla="*/ 5390941 w 5933552"/>
                  <a:gd name="connsiteY40" fmla="*/ 1934309 h 2231543"/>
                  <a:gd name="connsiteX41" fmla="*/ 5215670 w 5933552"/>
                  <a:gd name="connsiteY41" fmla="*/ 1932917 h 2231543"/>
                  <a:gd name="connsiteX42" fmla="*/ 4373414 w 5933552"/>
                  <a:gd name="connsiteY42" fmla="*/ 1914260 h 2231543"/>
                  <a:gd name="connsiteX43" fmla="*/ 1498817 w 5933552"/>
                  <a:gd name="connsiteY43" fmla="*/ 1888865 h 2231543"/>
                  <a:gd name="connsiteX44" fmla="*/ 619914 w 5933552"/>
                  <a:gd name="connsiteY44" fmla="*/ 1833825 h 2231543"/>
                  <a:gd name="connsiteX45" fmla="*/ 281354 w 5933552"/>
                  <a:gd name="connsiteY45" fmla="*/ 1833825 h 2231543"/>
                  <a:gd name="connsiteX46" fmla="*/ 130629 w 5933552"/>
                  <a:gd name="connsiteY46" fmla="*/ 1758462 h 2231543"/>
                  <a:gd name="connsiteX47" fmla="*/ 10048 w 5933552"/>
                  <a:gd name="connsiteY47" fmla="*/ 1678076 h 2231543"/>
                  <a:gd name="connsiteX48" fmla="*/ 0 w 5933552"/>
                  <a:gd name="connsiteY48" fmla="*/ 1537399 h 2231543"/>
                  <a:gd name="connsiteX49" fmla="*/ 15072 w 5933552"/>
                  <a:gd name="connsiteY49" fmla="*/ 1487157 h 2231543"/>
                  <a:gd name="connsiteX50" fmla="*/ 15072 w 5933552"/>
                  <a:gd name="connsiteY50" fmla="*/ 1431891 h 2231543"/>
                  <a:gd name="connsiteX51" fmla="*/ 25121 w 5933552"/>
                  <a:gd name="connsiteY51" fmla="*/ 1381649 h 2231543"/>
                  <a:gd name="connsiteX52" fmla="*/ 40193 w 5933552"/>
                  <a:gd name="connsiteY52" fmla="*/ 1356528 h 2231543"/>
                  <a:gd name="connsiteX53" fmla="*/ 65314 w 5933552"/>
                  <a:gd name="connsiteY53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164538 w 5933552"/>
                  <a:gd name="connsiteY10" fmla="*/ 56488 h 2231543"/>
                  <a:gd name="connsiteX11" fmla="*/ 2306097 w 5933552"/>
                  <a:gd name="connsiteY11" fmla="*/ 1 h 2231543"/>
                  <a:gd name="connsiteX12" fmla="*/ 3029578 w 5933552"/>
                  <a:gd name="connsiteY12" fmla="*/ 55267 h 2231543"/>
                  <a:gd name="connsiteX13" fmla="*/ 3135086 w 5933552"/>
                  <a:gd name="connsiteY13" fmla="*/ 75364 h 2231543"/>
                  <a:gd name="connsiteX14" fmla="*/ 3255666 w 5933552"/>
                  <a:gd name="connsiteY14" fmla="*/ 95460 h 2231543"/>
                  <a:gd name="connsiteX15" fmla="*/ 3542044 w 5933552"/>
                  <a:gd name="connsiteY15" fmla="*/ 180871 h 2231543"/>
                  <a:gd name="connsiteX16" fmla="*/ 3798277 w 5933552"/>
                  <a:gd name="connsiteY16" fmla="*/ 316524 h 2231543"/>
                  <a:gd name="connsiteX17" fmla="*/ 4210259 w 5933552"/>
                  <a:gd name="connsiteY17" fmla="*/ 542612 h 2231543"/>
                  <a:gd name="connsiteX18" fmla="*/ 4340888 w 5933552"/>
                  <a:gd name="connsiteY18" fmla="*/ 622999 h 2231543"/>
                  <a:gd name="connsiteX19" fmla="*/ 4381081 w 5933552"/>
                  <a:gd name="connsiteY19" fmla="*/ 653144 h 2231543"/>
                  <a:gd name="connsiteX20" fmla="*/ 4752870 w 5933552"/>
                  <a:gd name="connsiteY20" fmla="*/ 683289 h 2231543"/>
                  <a:gd name="connsiteX21" fmla="*/ 5164853 w 5933552"/>
                  <a:gd name="connsiteY21" fmla="*/ 758651 h 2231543"/>
                  <a:gd name="connsiteX22" fmla="*/ 5441182 w 5933552"/>
                  <a:gd name="connsiteY22" fmla="*/ 823966 h 2231543"/>
                  <a:gd name="connsiteX23" fmla="*/ 5612004 w 5933552"/>
                  <a:gd name="connsiteY23" fmla="*/ 899328 h 2231543"/>
                  <a:gd name="connsiteX24" fmla="*/ 5807947 w 5933552"/>
                  <a:gd name="connsiteY24" fmla="*/ 1045029 h 2231543"/>
                  <a:gd name="connsiteX25" fmla="*/ 5823020 w 5933552"/>
                  <a:gd name="connsiteY25" fmla="*/ 1115368 h 2231543"/>
                  <a:gd name="connsiteX26" fmla="*/ 5838092 w 5933552"/>
                  <a:gd name="connsiteY26" fmla="*/ 1215851 h 2231543"/>
                  <a:gd name="connsiteX27" fmla="*/ 5823020 w 5933552"/>
                  <a:gd name="connsiteY27" fmla="*/ 1245996 h 2231543"/>
                  <a:gd name="connsiteX28" fmla="*/ 5863213 w 5933552"/>
                  <a:gd name="connsiteY28" fmla="*/ 1296238 h 2231543"/>
                  <a:gd name="connsiteX29" fmla="*/ 5893358 w 5933552"/>
                  <a:gd name="connsiteY29" fmla="*/ 1356528 h 2231543"/>
                  <a:gd name="connsiteX30" fmla="*/ 5893358 w 5933552"/>
                  <a:gd name="connsiteY30" fmla="*/ 1431891 h 2231543"/>
                  <a:gd name="connsiteX31" fmla="*/ 5928527 w 5933552"/>
                  <a:gd name="connsiteY31" fmla="*/ 1492181 h 2231543"/>
                  <a:gd name="connsiteX32" fmla="*/ 5918479 w 5933552"/>
                  <a:gd name="connsiteY32" fmla="*/ 1602713 h 2231543"/>
                  <a:gd name="connsiteX33" fmla="*/ 5898382 w 5933552"/>
                  <a:gd name="connsiteY33" fmla="*/ 1683100 h 2231543"/>
                  <a:gd name="connsiteX34" fmla="*/ 5918479 w 5933552"/>
                  <a:gd name="connsiteY34" fmla="*/ 1773535 h 2231543"/>
                  <a:gd name="connsiteX35" fmla="*/ 5933552 w 5933552"/>
                  <a:gd name="connsiteY35" fmla="*/ 1808704 h 2231543"/>
                  <a:gd name="connsiteX36" fmla="*/ 5812971 w 5933552"/>
                  <a:gd name="connsiteY36" fmla="*/ 1868994 h 2231543"/>
                  <a:gd name="connsiteX37" fmla="*/ 5812971 w 5933552"/>
                  <a:gd name="connsiteY37" fmla="*/ 1868994 h 2231543"/>
                  <a:gd name="connsiteX38" fmla="*/ 5727560 w 5933552"/>
                  <a:gd name="connsiteY38" fmla="*/ 1929284 h 2231543"/>
                  <a:gd name="connsiteX39" fmla="*/ 5390941 w 5933552"/>
                  <a:gd name="connsiteY39" fmla="*/ 1934309 h 2231543"/>
                  <a:gd name="connsiteX40" fmla="*/ 5215670 w 5933552"/>
                  <a:gd name="connsiteY40" fmla="*/ 1932917 h 2231543"/>
                  <a:gd name="connsiteX41" fmla="*/ 4373414 w 5933552"/>
                  <a:gd name="connsiteY41" fmla="*/ 1914260 h 2231543"/>
                  <a:gd name="connsiteX42" fmla="*/ 1498817 w 5933552"/>
                  <a:gd name="connsiteY42" fmla="*/ 1888865 h 2231543"/>
                  <a:gd name="connsiteX43" fmla="*/ 619914 w 5933552"/>
                  <a:gd name="connsiteY43" fmla="*/ 1833825 h 2231543"/>
                  <a:gd name="connsiteX44" fmla="*/ 281354 w 5933552"/>
                  <a:gd name="connsiteY44" fmla="*/ 1833825 h 2231543"/>
                  <a:gd name="connsiteX45" fmla="*/ 130629 w 5933552"/>
                  <a:gd name="connsiteY45" fmla="*/ 1758462 h 2231543"/>
                  <a:gd name="connsiteX46" fmla="*/ 10048 w 5933552"/>
                  <a:gd name="connsiteY46" fmla="*/ 1678076 h 2231543"/>
                  <a:gd name="connsiteX47" fmla="*/ 0 w 5933552"/>
                  <a:gd name="connsiteY47" fmla="*/ 1537399 h 2231543"/>
                  <a:gd name="connsiteX48" fmla="*/ 15072 w 5933552"/>
                  <a:gd name="connsiteY48" fmla="*/ 1487157 h 2231543"/>
                  <a:gd name="connsiteX49" fmla="*/ 15072 w 5933552"/>
                  <a:gd name="connsiteY49" fmla="*/ 1431891 h 2231543"/>
                  <a:gd name="connsiteX50" fmla="*/ 25121 w 5933552"/>
                  <a:gd name="connsiteY50" fmla="*/ 1381649 h 2231543"/>
                  <a:gd name="connsiteX51" fmla="*/ 40193 w 5933552"/>
                  <a:gd name="connsiteY51" fmla="*/ 1356528 h 2231543"/>
                  <a:gd name="connsiteX52" fmla="*/ 65314 w 5933552"/>
                  <a:gd name="connsiteY52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164538 w 5933552"/>
                  <a:gd name="connsiteY9" fmla="*/ 56488 h 2231543"/>
                  <a:gd name="connsiteX10" fmla="*/ 2306097 w 5933552"/>
                  <a:gd name="connsiteY10" fmla="*/ 1 h 2231543"/>
                  <a:gd name="connsiteX11" fmla="*/ 3029578 w 5933552"/>
                  <a:gd name="connsiteY11" fmla="*/ 55267 h 2231543"/>
                  <a:gd name="connsiteX12" fmla="*/ 3135086 w 5933552"/>
                  <a:gd name="connsiteY12" fmla="*/ 75364 h 2231543"/>
                  <a:gd name="connsiteX13" fmla="*/ 3255666 w 5933552"/>
                  <a:gd name="connsiteY13" fmla="*/ 95460 h 2231543"/>
                  <a:gd name="connsiteX14" fmla="*/ 3542044 w 5933552"/>
                  <a:gd name="connsiteY14" fmla="*/ 180871 h 2231543"/>
                  <a:gd name="connsiteX15" fmla="*/ 3798277 w 5933552"/>
                  <a:gd name="connsiteY15" fmla="*/ 316524 h 2231543"/>
                  <a:gd name="connsiteX16" fmla="*/ 4210259 w 5933552"/>
                  <a:gd name="connsiteY16" fmla="*/ 542612 h 2231543"/>
                  <a:gd name="connsiteX17" fmla="*/ 4340888 w 5933552"/>
                  <a:gd name="connsiteY17" fmla="*/ 622999 h 2231543"/>
                  <a:gd name="connsiteX18" fmla="*/ 4381081 w 5933552"/>
                  <a:gd name="connsiteY18" fmla="*/ 653144 h 2231543"/>
                  <a:gd name="connsiteX19" fmla="*/ 4752870 w 5933552"/>
                  <a:gd name="connsiteY19" fmla="*/ 683289 h 2231543"/>
                  <a:gd name="connsiteX20" fmla="*/ 5164853 w 5933552"/>
                  <a:gd name="connsiteY20" fmla="*/ 758651 h 2231543"/>
                  <a:gd name="connsiteX21" fmla="*/ 5441182 w 5933552"/>
                  <a:gd name="connsiteY21" fmla="*/ 823966 h 2231543"/>
                  <a:gd name="connsiteX22" fmla="*/ 5612004 w 5933552"/>
                  <a:gd name="connsiteY22" fmla="*/ 899328 h 2231543"/>
                  <a:gd name="connsiteX23" fmla="*/ 5807947 w 5933552"/>
                  <a:gd name="connsiteY23" fmla="*/ 1045029 h 2231543"/>
                  <a:gd name="connsiteX24" fmla="*/ 5823020 w 5933552"/>
                  <a:gd name="connsiteY24" fmla="*/ 1115368 h 2231543"/>
                  <a:gd name="connsiteX25" fmla="*/ 5838092 w 5933552"/>
                  <a:gd name="connsiteY25" fmla="*/ 1215851 h 2231543"/>
                  <a:gd name="connsiteX26" fmla="*/ 5823020 w 5933552"/>
                  <a:gd name="connsiteY26" fmla="*/ 1245996 h 2231543"/>
                  <a:gd name="connsiteX27" fmla="*/ 5863213 w 5933552"/>
                  <a:gd name="connsiteY27" fmla="*/ 1296238 h 2231543"/>
                  <a:gd name="connsiteX28" fmla="*/ 5893358 w 5933552"/>
                  <a:gd name="connsiteY28" fmla="*/ 1356528 h 2231543"/>
                  <a:gd name="connsiteX29" fmla="*/ 5893358 w 5933552"/>
                  <a:gd name="connsiteY29" fmla="*/ 1431891 h 2231543"/>
                  <a:gd name="connsiteX30" fmla="*/ 5928527 w 5933552"/>
                  <a:gd name="connsiteY30" fmla="*/ 1492181 h 2231543"/>
                  <a:gd name="connsiteX31" fmla="*/ 5918479 w 5933552"/>
                  <a:gd name="connsiteY31" fmla="*/ 1602713 h 2231543"/>
                  <a:gd name="connsiteX32" fmla="*/ 5898382 w 5933552"/>
                  <a:gd name="connsiteY32" fmla="*/ 1683100 h 2231543"/>
                  <a:gd name="connsiteX33" fmla="*/ 5918479 w 5933552"/>
                  <a:gd name="connsiteY33" fmla="*/ 1773535 h 2231543"/>
                  <a:gd name="connsiteX34" fmla="*/ 5933552 w 5933552"/>
                  <a:gd name="connsiteY34" fmla="*/ 1808704 h 2231543"/>
                  <a:gd name="connsiteX35" fmla="*/ 5812971 w 5933552"/>
                  <a:gd name="connsiteY35" fmla="*/ 1868994 h 2231543"/>
                  <a:gd name="connsiteX36" fmla="*/ 5812971 w 5933552"/>
                  <a:gd name="connsiteY36" fmla="*/ 1868994 h 2231543"/>
                  <a:gd name="connsiteX37" fmla="*/ 5727560 w 5933552"/>
                  <a:gd name="connsiteY37" fmla="*/ 1929284 h 2231543"/>
                  <a:gd name="connsiteX38" fmla="*/ 5390941 w 5933552"/>
                  <a:gd name="connsiteY38" fmla="*/ 1934309 h 2231543"/>
                  <a:gd name="connsiteX39" fmla="*/ 5215670 w 5933552"/>
                  <a:gd name="connsiteY39" fmla="*/ 1932917 h 2231543"/>
                  <a:gd name="connsiteX40" fmla="*/ 4373414 w 5933552"/>
                  <a:gd name="connsiteY40" fmla="*/ 1914260 h 2231543"/>
                  <a:gd name="connsiteX41" fmla="*/ 1498817 w 5933552"/>
                  <a:gd name="connsiteY41" fmla="*/ 1888865 h 2231543"/>
                  <a:gd name="connsiteX42" fmla="*/ 619914 w 5933552"/>
                  <a:gd name="connsiteY42" fmla="*/ 1833825 h 2231543"/>
                  <a:gd name="connsiteX43" fmla="*/ 281354 w 5933552"/>
                  <a:gd name="connsiteY43" fmla="*/ 1833825 h 2231543"/>
                  <a:gd name="connsiteX44" fmla="*/ 130629 w 5933552"/>
                  <a:gd name="connsiteY44" fmla="*/ 1758462 h 2231543"/>
                  <a:gd name="connsiteX45" fmla="*/ 10048 w 5933552"/>
                  <a:gd name="connsiteY45" fmla="*/ 1678076 h 2231543"/>
                  <a:gd name="connsiteX46" fmla="*/ 0 w 5933552"/>
                  <a:gd name="connsiteY46" fmla="*/ 1537399 h 2231543"/>
                  <a:gd name="connsiteX47" fmla="*/ 15072 w 5933552"/>
                  <a:gd name="connsiteY47" fmla="*/ 1487157 h 2231543"/>
                  <a:gd name="connsiteX48" fmla="*/ 15072 w 5933552"/>
                  <a:gd name="connsiteY48" fmla="*/ 1431891 h 2231543"/>
                  <a:gd name="connsiteX49" fmla="*/ 25121 w 5933552"/>
                  <a:gd name="connsiteY49" fmla="*/ 1381649 h 2231543"/>
                  <a:gd name="connsiteX50" fmla="*/ 40193 w 5933552"/>
                  <a:gd name="connsiteY50" fmla="*/ 1356528 h 2231543"/>
                  <a:gd name="connsiteX51" fmla="*/ 65314 w 5933552"/>
                  <a:gd name="connsiteY51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164538 w 5933552"/>
                  <a:gd name="connsiteY8" fmla="*/ 56488 h 2231543"/>
                  <a:gd name="connsiteX9" fmla="*/ 2306097 w 5933552"/>
                  <a:gd name="connsiteY9" fmla="*/ 1 h 2231543"/>
                  <a:gd name="connsiteX10" fmla="*/ 3029578 w 5933552"/>
                  <a:gd name="connsiteY10" fmla="*/ 55267 h 2231543"/>
                  <a:gd name="connsiteX11" fmla="*/ 3135086 w 5933552"/>
                  <a:gd name="connsiteY11" fmla="*/ 75364 h 2231543"/>
                  <a:gd name="connsiteX12" fmla="*/ 3255666 w 5933552"/>
                  <a:gd name="connsiteY12" fmla="*/ 95460 h 2231543"/>
                  <a:gd name="connsiteX13" fmla="*/ 3542044 w 5933552"/>
                  <a:gd name="connsiteY13" fmla="*/ 180871 h 2231543"/>
                  <a:gd name="connsiteX14" fmla="*/ 3798277 w 5933552"/>
                  <a:gd name="connsiteY14" fmla="*/ 316524 h 2231543"/>
                  <a:gd name="connsiteX15" fmla="*/ 4210259 w 5933552"/>
                  <a:gd name="connsiteY15" fmla="*/ 542612 h 2231543"/>
                  <a:gd name="connsiteX16" fmla="*/ 4340888 w 5933552"/>
                  <a:gd name="connsiteY16" fmla="*/ 622999 h 2231543"/>
                  <a:gd name="connsiteX17" fmla="*/ 4381081 w 5933552"/>
                  <a:gd name="connsiteY17" fmla="*/ 653144 h 2231543"/>
                  <a:gd name="connsiteX18" fmla="*/ 4752870 w 5933552"/>
                  <a:gd name="connsiteY18" fmla="*/ 683289 h 2231543"/>
                  <a:gd name="connsiteX19" fmla="*/ 5164853 w 5933552"/>
                  <a:gd name="connsiteY19" fmla="*/ 758651 h 2231543"/>
                  <a:gd name="connsiteX20" fmla="*/ 5441182 w 5933552"/>
                  <a:gd name="connsiteY20" fmla="*/ 823966 h 2231543"/>
                  <a:gd name="connsiteX21" fmla="*/ 5612004 w 5933552"/>
                  <a:gd name="connsiteY21" fmla="*/ 899328 h 2231543"/>
                  <a:gd name="connsiteX22" fmla="*/ 5807947 w 5933552"/>
                  <a:gd name="connsiteY22" fmla="*/ 1045029 h 2231543"/>
                  <a:gd name="connsiteX23" fmla="*/ 5823020 w 5933552"/>
                  <a:gd name="connsiteY23" fmla="*/ 1115368 h 2231543"/>
                  <a:gd name="connsiteX24" fmla="*/ 5838092 w 5933552"/>
                  <a:gd name="connsiteY24" fmla="*/ 1215851 h 2231543"/>
                  <a:gd name="connsiteX25" fmla="*/ 5823020 w 5933552"/>
                  <a:gd name="connsiteY25" fmla="*/ 1245996 h 2231543"/>
                  <a:gd name="connsiteX26" fmla="*/ 5863213 w 5933552"/>
                  <a:gd name="connsiteY26" fmla="*/ 1296238 h 2231543"/>
                  <a:gd name="connsiteX27" fmla="*/ 5893358 w 5933552"/>
                  <a:gd name="connsiteY27" fmla="*/ 1356528 h 2231543"/>
                  <a:gd name="connsiteX28" fmla="*/ 5893358 w 5933552"/>
                  <a:gd name="connsiteY28" fmla="*/ 1431891 h 2231543"/>
                  <a:gd name="connsiteX29" fmla="*/ 5928527 w 5933552"/>
                  <a:gd name="connsiteY29" fmla="*/ 1492181 h 2231543"/>
                  <a:gd name="connsiteX30" fmla="*/ 5918479 w 5933552"/>
                  <a:gd name="connsiteY30" fmla="*/ 1602713 h 2231543"/>
                  <a:gd name="connsiteX31" fmla="*/ 5898382 w 5933552"/>
                  <a:gd name="connsiteY31" fmla="*/ 1683100 h 2231543"/>
                  <a:gd name="connsiteX32" fmla="*/ 5918479 w 5933552"/>
                  <a:gd name="connsiteY32" fmla="*/ 1773535 h 2231543"/>
                  <a:gd name="connsiteX33" fmla="*/ 5933552 w 5933552"/>
                  <a:gd name="connsiteY33" fmla="*/ 1808704 h 2231543"/>
                  <a:gd name="connsiteX34" fmla="*/ 5812971 w 5933552"/>
                  <a:gd name="connsiteY34" fmla="*/ 1868994 h 2231543"/>
                  <a:gd name="connsiteX35" fmla="*/ 5812971 w 5933552"/>
                  <a:gd name="connsiteY35" fmla="*/ 1868994 h 2231543"/>
                  <a:gd name="connsiteX36" fmla="*/ 5727560 w 5933552"/>
                  <a:gd name="connsiteY36" fmla="*/ 1929284 h 2231543"/>
                  <a:gd name="connsiteX37" fmla="*/ 5390941 w 5933552"/>
                  <a:gd name="connsiteY37" fmla="*/ 1934309 h 2231543"/>
                  <a:gd name="connsiteX38" fmla="*/ 5215670 w 5933552"/>
                  <a:gd name="connsiteY38" fmla="*/ 1932917 h 2231543"/>
                  <a:gd name="connsiteX39" fmla="*/ 4373414 w 5933552"/>
                  <a:gd name="connsiteY39" fmla="*/ 1914260 h 2231543"/>
                  <a:gd name="connsiteX40" fmla="*/ 1498817 w 5933552"/>
                  <a:gd name="connsiteY40" fmla="*/ 1888865 h 2231543"/>
                  <a:gd name="connsiteX41" fmla="*/ 619914 w 5933552"/>
                  <a:gd name="connsiteY41" fmla="*/ 1833825 h 2231543"/>
                  <a:gd name="connsiteX42" fmla="*/ 281354 w 5933552"/>
                  <a:gd name="connsiteY42" fmla="*/ 1833825 h 2231543"/>
                  <a:gd name="connsiteX43" fmla="*/ 130629 w 5933552"/>
                  <a:gd name="connsiteY43" fmla="*/ 1758462 h 2231543"/>
                  <a:gd name="connsiteX44" fmla="*/ 10048 w 5933552"/>
                  <a:gd name="connsiteY44" fmla="*/ 1678076 h 2231543"/>
                  <a:gd name="connsiteX45" fmla="*/ 0 w 5933552"/>
                  <a:gd name="connsiteY45" fmla="*/ 1537399 h 2231543"/>
                  <a:gd name="connsiteX46" fmla="*/ 15072 w 5933552"/>
                  <a:gd name="connsiteY46" fmla="*/ 1487157 h 2231543"/>
                  <a:gd name="connsiteX47" fmla="*/ 15072 w 5933552"/>
                  <a:gd name="connsiteY47" fmla="*/ 1431891 h 2231543"/>
                  <a:gd name="connsiteX48" fmla="*/ 25121 w 5933552"/>
                  <a:gd name="connsiteY48" fmla="*/ 1381649 h 2231543"/>
                  <a:gd name="connsiteX49" fmla="*/ 40193 w 5933552"/>
                  <a:gd name="connsiteY49" fmla="*/ 1356528 h 2231543"/>
                  <a:gd name="connsiteX50" fmla="*/ 65314 w 5933552"/>
                  <a:gd name="connsiteY50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64538 w 5933552"/>
                  <a:gd name="connsiteY7" fmla="*/ 56488 h 2231543"/>
                  <a:gd name="connsiteX8" fmla="*/ 2306097 w 5933552"/>
                  <a:gd name="connsiteY8" fmla="*/ 1 h 2231543"/>
                  <a:gd name="connsiteX9" fmla="*/ 3029578 w 5933552"/>
                  <a:gd name="connsiteY9" fmla="*/ 55267 h 2231543"/>
                  <a:gd name="connsiteX10" fmla="*/ 3135086 w 5933552"/>
                  <a:gd name="connsiteY10" fmla="*/ 75364 h 2231543"/>
                  <a:gd name="connsiteX11" fmla="*/ 3255666 w 5933552"/>
                  <a:gd name="connsiteY11" fmla="*/ 95460 h 2231543"/>
                  <a:gd name="connsiteX12" fmla="*/ 3542044 w 5933552"/>
                  <a:gd name="connsiteY12" fmla="*/ 180871 h 2231543"/>
                  <a:gd name="connsiteX13" fmla="*/ 3798277 w 5933552"/>
                  <a:gd name="connsiteY13" fmla="*/ 316524 h 2231543"/>
                  <a:gd name="connsiteX14" fmla="*/ 4210259 w 5933552"/>
                  <a:gd name="connsiteY14" fmla="*/ 542612 h 2231543"/>
                  <a:gd name="connsiteX15" fmla="*/ 4340888 w 5933552"/>
                  <a:gd name="connsiteY15" fmla="*/ 622999 h 2231543"/>
                  <a:gd name="connsiteX16" fmla="*/ 4381081 w 5933552"/>
                  <a:gd name="connsiteY16" fmla="*/ 653144 h 2231543"/>
                  <a:gd name="connsiteX17" fmla="*/ 4752870 w 5933552"/>
                  <a:gd name="connsiteY17" fmla="*/ 683289 h 2231543"/>
                  <a:gd name="connsiteX18" fmla="*/ 5164853 w 5933552"/>
                  <a:gd name="connsiteY18" fmla="*/ 758651 h 2231543"/>
                  <a:gd name="connsiteX19" fmla="*/ 5441182 w 5933552"/>
                  <a:gd name="connsiteY19" fmla="*/ 823966 h 2231543"/>
                  <a:gd name="connsiteX20" fmla="*/ 5612004 w 5933552"/>
                  <a:gd name="connsiteY20" fmla="*/ 899328 h 2231543"/>
                  <a:gd name="connsiteX21" fmla="*/ 5807947 w 5933552"/>
                  <a:gd name="connsiteY21" fmla="*/ 1045029 h 2231543"/>
                  <a:gd name="connsiteX22" fmla="*/ 5823020 w 5933552"/>
                  <a:gd name="connsiteY22" fmla="*/ 1115368 h 2231543"/>
                  <a:gd name="connsiteX23" fmla="*/ 5838092 w 5933552"/>
                  <a:gd name="connsiteY23" fmla="*/ 1215851 h 2231543"/>
                  <a:gd name="connsiteX24" fmla="*/ 5823020 w 5933552"/>
                  <a:gd name="connsiteY24" fmla="*/ 1245996 h 2231543"/>
                  <a:gd name="connsiteX25" fmla="*/ 5863213 w 5933552"/>
                  <a:gd name="connsiteY25" fmla="*/ 1296238 h 2231543"/>
                  <a:gd name="connsiteX26" fmla="*/ 5893358 w 5933552"/>
                  <a:gd name="connsiteY26" fmla="*/ 1356528 h 2231543"/>
                  <a:gd name="connsiteX27" fmla="*/ 5893358 w 5933552"/>
                  <a:gd name="connsiteY27" fmla="*/ 1431891 h 2231543"/>
                  <a:gd name="connsiteX28" fmla="*/ 5928527 w 5933552"/>
                  <a:gd name="connsiteY28" fmla="*/ 1492181 h 2231543"/>
                  <a:gd name="connsiteX29" fmla="*/ 5918479 w 5933552"/>
                  <a:gd name="connsiteY29" fmla="*/ 1602713 h 2231543"/>
                  <a:gd name="connsiteX30" fmla="*/ 5898382 w 5933552"/>
                  <a:gd name="connsiteY30" fmla="*/ 1683100 h 2231543"/>
                  <a:gd name="connsiteX31" fmla="*/ 5918479 w 5933552"/>
                  <a:gd name="connsiteY31" fmla="*/ 1773535 h 2231543"/>
                  <a:gd name="connsiteX32" fmla="*/ 5933552 w 5933552"/>
                  <a:gd name="connsiteY32" fmla="*/ 1808704 h 2231543"/>
                  <a:gd name="connsiteX33" fmla="*/ 5812971 w 5933552"/>
                  <a:gd name="connsiteY33" fmla="*/ 1868994 h 2231543"/>
                  <a:gd name="connsiteX34" fmla="*/ 5812971 w 5933552"/>
                  <a:gd name="connsiteY34" fmla="*/ 1868994 h 2231543"/>
                  <a:gd name="connsiteX35" fmla="*/ 5727560 w 5933552"/>
                  <a:gd name="connsiteY35" fmla="*/ 1929284 h 2231543"/>
                  <a:gd name="connsiteX36" fmla="*/ 5390941 w 5933552"/>
                  <a:gd name="connsiteY36" fmla="*/ 1934309 h 2231543"/>
                  <a:gd name="connsiteX37" fmla="*/ 5215670 w 5933552"/>
                  <a:gd name="connsiteY37" fmla="*/ 1932917 h 2231543"/>
                  <a:gd name="connsiteX38" fmla="*/ 4373414 w 5933552"/>
                  <a:gd name="connsiteY38" fmla="*/ 1914260 h 2231543"/>
                  <a:gd name="connsiteX39" fmla="*/ 1498817 w 5933552"/>
                  <a:gd name="connsiteY39" fmla="*/ 1888865 h 2231543"/>
                  <a:gd name="connsiteX40" fmla="*/ 619914 w 5933552"/>
                  <a:gd name="connsiteY40" fmla="*/ 1833825 h 2231543"/>
                  <a:gd name="connsiteX41" fmla="*/ 281354 w 5933552"/>
                  <a:gd name="connsiteY41" fmla="*/ 1833825 h 2231543"/>
                  <a:gd name="connsiteX42" fmla="*/ 130629 w 5933552"/>
                  <a:gd name="connsiteY42" fmla="*/ 1758462 h 2231543"/>
                  <a:gd name="connsiteX43" fmla="*/ 10048 w 5933552"/>
                  <a:gd name="connsiteY43" fmla="*/ 1678076 h 2231543"/>
                  <a:gd name="connsiteX44" fmla="*/ 0 w 5933552"/>
                  <a:gd name="connsiteY44" fmla="*/ 1537399 h 2231543"/>
                  <a:gd name="connsiteX45" fmla="*/ 15072 w 5933552"/>
                  <a:gd name="connsiteY45" fmla="*/ 1487157 h 2231543"/>
                  <a:gd name="connsiteX46" fmla="*/ 15072 w 5933552"/>
                  <a:gd name="connsiteY46" fmla="*/ 1431891 h 2231543"/>
                  <a:gd name="connsiteX47" fmla="*/ 25121 w 5933552"/>
                  <a:gd name="connsiteY47" fmla="*/ 1381649 h 2231543"/>
                  <a:gd name="connsiteX48" fmla="*/ 40193 w 5933552"/>
                  <a:gd name="connsiteY48" fmla="*/ 1356528 h 2231543"/>
                  <a:gd name="connsiteX49" fmla="*/ 65314 w 5933552"/>
                  <a:gd name="connsiteY49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64538 w 5933552"/>
                  <a:gd name="connsiteY6" fmla="*/ 56488 h 2231543"/>
                  <a:gd name="connsiteX7" fmla="*/ 2306097 w 5933552"/>
                  <a:gd name="connsiteY7" fmla="*/ 1 h 2231543"/>
                  <a:gd name="connsiteX8" fmla="*/ 3029578 w 5933552"/>
                  <a:gd name="connsiteY8" fmla="*/ 55267 h 2231543"/>
                  <a:gd name="connsiteX9" fmla="*/ 3135086 w 5933552"/>
                  <a:gd name="connsiteY9" fmla="*/ 75364 h 2231543"/>
                  <a:gd name="connsiteX10" fmla="*/ 3255666 w 5933552"/>
                  <a:gd name="connsiteY10" fmla="*/ 95460 h 2231543"/>
                  <a:gd name="connsiteX11" fmla="*/ 3542044 w 5933552"/>
                  <a:gd name="connsiteY11" fmla="*/ 180871 h 2231543"/>
                  <a:gd name="connsiteX12" fmla="*/ 3798277 w 5933552"/>
                  <a:gd name="connsiteY12" fmla="*/ 316524 h 2231543"/>
                  <a:gd name="connsiteX13" fmla="*/ 4210259 w 5933552"/>
                  <a:gd name="connsiteY13" fmla="*/ 542612 h 2231543"/>
                  <a:gd name="connsiteX14" fmla="*/ 4340888 w 5933552"/>
                  <a:gd name="connsiteY14" fmla="*/ 622999 h 2231543"/>
                  <a:gd name="connsiteX15" fmla="*/ 4381081 w 5933552"/>
                  <a:gd name="connsiteY15" fmla="*/ 653144 h 2231543"/>
                  <a:gd name="connsiteX16" fmla="*/ 4752870 w 5933552"/>
                  <a:gd name="connsiteY16" fmla="*/ 683289 h 2231543"/>
                  <a:gd name="connsiteX17" fmla="*/ 5164853 w 5933552"/>
                  <a:gd name="connsiteY17" fmla="*/ 758651 h 2231543"/>
                  <a:gd name="connsiteX18" fmla="*/ 5441182 w 5933552"/>
                  <a:gd name="connsiteY18" fmla="*/ 823966 h 2231543"/>
                  <a:gd name="connsiteX19" fmla="*/ 5612004 w 5933552"/>
                  <a:gd name="connsiteY19" fmla="*/ 899328 h 2231543"/>
                  <a:gd name="connsiteX20" fmla="*/ 5807947 w 5933552"/>
                  <a:gd name="connsiteY20" fmla="*/ 1045029 h 2231543"/>
                  <a:gd name="connsiteX21" fmla="*/ 5823020 w 5933552"/>
                  <a:gd name="connsiteY21" fmla="*/ 1115368 h 2231543"/>
                  <a:gd name="connsiteX22" fmla="*/ 5838092 w 5933552"/>
                  <a:gd name="connsiteY22" fmla="*/ 1215851 h 2231543"/>
                  <a:gd name="connsiteX23" fmla="*/ 5823020 w 5933552"/>
                  <a:gd name="connsiteY23" fmla="*/ 1245996 h 2231543"/>
                  <a:gd name="connsiteX24" fmla="*/ 5863213 w 5933552"/>
                  <a:gd name="connsiteY24" fmla="*/ 1296238 h 2231543"/>
                  <a:gd name="connsiteX25" fmla="*/ 5893358 w 5933552"/>
                  <a:gd name="connsiteY25" fmla="*/ 1356528 h 2231543"/>
                  <a:gd name="connsiteX26" fmla="*/ 5893358 w 5933552"/>
                  <a:gd name="connsiteY26" fmla="*/ 1431891 h 2231543"/>
                  <a:gd name="connsiteX27" fmla="*/ 5928527 w 5933552"/>
                  <a:gd name="connsiteY27" fmla="*/ 1492181 h 2231543"/>
                  <a:gd name="connsiteX28" fmla="*/ 5918479 w 5933552"/>
                  <a:gd name="connsiteY28" fmla="*/ 1602713 h 2231543"/>
                  <a:gd name="connsiteX29" fmla="*/ 5898382 w 5933552"/>
                  <a:gd name="connsiteY29" fmla="*/ 1683100 h 2231543"/>
                  <a:gd name="connsiteX30" fmla="*/ 5918479 w 5933552"/>
                  <a:gd name="connsiteY30" fmla="*/ 1773535 h 2231543"/>
                  <a:gd name="connsiteX31" fmla="*/ 5933552 w 5933552"/>
                  <a:gd name="connsiteY31" fmla="*/ 1808704 h 2231543"/>
                  <a:gd name="connsiteX32" fmla="*/ 5812971 w 5933552"/>
                  <a:gd name="connsiteY32" fmla="*/ 1868994 h 2231543"/>
                  <a:gd name="connsiteX33" fmla="*/ 5812971 w 5933552"/>
                  <a:gd name="connsiteY33" fmla="*/ 1868994 h 2231543"/>
                  <a:gd name="connsiteX34" fmla="*/ 5727560 w 5933552"/>
                  <a:gd name="connsiteY34" fmla="*/ 1929284 h 2231543"/>
                  <a:gd name="connsiteX35" fmla="*/ 5390941 w 5933552"/>
                  <a:gd name="connsiteY35" fmla="*/ 1934309 h 2231543"/>
                  <a:gd name="connsiteX36" fmla="*/ 5215670 w 5933552"/>
                  <a:gd name="connsiteY36" fmla="*/ 1932917 h 2231543"/>
                  <a:gd name="connsiteX37" fmla="*/ 4373414 w 5933552"/>
                  <a:gd name="connsiteY37" fmla="*/ 1914260 h 2231543"/>
                  <a:gd name="connsiteX38" fmla="*/ 1498817 w 5933552"/>
                  <a:gd name="connsiteY38" fmla="*/ 1888865 h 2231543"/>
                  <a:gd name="connsiteX39" fmla="*/ 619914 w 5933552"/>
                  <a:gd name="connsiteY39" fmla="*/ 1833825 h 2231543"/>
                  <a:gd name="connsiteX40" fmla="*/ 281354 w 5933552"/>
                  <a:gd name="connsiteY40" fmla="*/ 1833825 h 2231543"/>
                  <a:gd name="connsiteX41" fmla="*/ 130629 w 5933552"/>
                  <a:gd name="connsiteY41" fmla="*/ 1758462 h 2231543"/>
                  <a:gd name="connsiteX42" fmla="*/ 10048 w 5933552"/>
                  <a:gd name="connsiteY42" fmla="*/ 1678076 h 2231543"/>
                  <a:gd name="connsiteX43" fmla="*/ 0 w 5933552"/>
                  <a:gd name="connsiteY43" fmla="*/ 1537399 h 2231543"/>
                  <a:gd name="connsiteX44" fmla="*/ 15072 w 5933552"/>
                  <a:gd name="connsiteY44" fmla="*/ 1487157 h 2231543"/>
                  <a:gd name="connsiteX45" fmla="*/ 15072 w 5933552"/>
                  <a:gd name="connsiteY45" fmla="*/ 1431891 h 2231543"/>
                  <a:gd name="connsiteX46" fmla="*/ 25121 w 5933552"/>
                  <a:gd name="connsiteY46" fmla="*/ 1381649 h 2231543"/>
                  <a:gd name="connsiteX47" fmla="*/ 40193 w 5933552"/>
                  <a:gd name="connsiteY47" fmla="*/ 1356528 h 2231543"/>
                  <a:gd name="connsiteX48" fmla="*/ 65314 w 5933552"/>
                  <a:gd name="connsiteY48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164538 w 5933552"/>
                  <a:gd name="connsiteY5" fmla="*/ 56488 h 2231543"/>
                  <a:gd name="connsiteX6" fmla="*/ 2306097 w 5933552"/>
                  <a:gd name="connsiteY6" fmla="*/ 1 h 2231543"/>
                  <a:gd name="connsiteX7" fmla="*/ 3029578 w 5933552"/>
                  <a:gd name="connsiteY7" fmla="*/ 55267 h 2231543"/>
                  <a:gd name="connsiteX8" fmla="*/ 3135086 w 5933552"/>
                  <a:gd name="connsiteY8" fmla="*/ 75364 h 2231543"/>
                  <a:gd name="connsiteX9" fmla="*/ 3255666 w 5933552"/>
                  <a:gd name="connsiteY9" fmla="*/ 95460 h 2231543"/>
                  <a:gd name="connsiteX10" fmla="*/ 3542044 w 5933552"/>
                  <a:gd name="connsiteY10" fmla="*/ 180871 h 2231543"/>
                  <a:gd name="connsiteX11" fmla="*/ 3798277 w 5933552"/>
                  <a:gd name="connsiteY11" fmla="*/ 316524 h 2231543"/>
                  <a:gd name="connsiteX12" fmla="*/ 4210259 w 5933552"/>
                  <a:gd name="connsiteY12" fmla="*/ 542612 h 2231543"/>
                  <a:gd name="connsiteX13" fmla="*/ 4340888 w 5933552"/>
                  <a:gd name="connsiteY13" fmla="*/ 622999 h 2231543"/>
                  <a:gd name="connsiteX14" fmla="*/ 4381081 w 5933552"/>
                  <a:gd name="connsiteY14" fmla="*/ 653144 h 2231543"/>
                  <a:gd name="connsiteX15" fmla="*/ 4752870 w 5933552"/>
                  <a:gd name="connsiteY15" fmla="*/ 683289 h 2231543"/>
                  <a:gd name="connsiteX16" fmla="*/ 5164853 w 5933552"/>
                  <a:gd name="connsiteY16" fmla="*/ 758651 h 2231543"/>
                  <a:gd name="connsiteX17" fmla="*/ 5441182 w 5933552"/>
                  <a:gd name="connsiteY17" fmla="*/ 823966 h 2231543"/>
                  <a:gd name="connsiteX18" fmla="*/ 5612004 w 5933552"/>
                  <a:gd name="connsiteY18" fmla="*/ 899328 h 2231543"/>
                  <a:gd name="connsiteX19" fmla="*/ 5807947 w 5933552"/>
                  <a:gd name="connsiteY19" fmla="*/ 1045029 h 2231543"/>
                  <a:gd name="connsiteX20" fmla="*/ 5823020 w 5933552"/>
                  <a:gd name="connsiteY20" fmla="*/ 1115368 h 2231543"/>
                  <a:gd name="connsiteX21" fmla="*/ 5838092 w 5933552"/>
                  <a:gd name="connsiteY21" fmla="*/ 1215851 h 2231543"/>
                  <a:gd name="connsiteX22" fmla="*/ 5823020 w 5933552"/>
                  <a:gd name="connsiteY22" fmla="*/ 1245996 h 2231543"/>
                  <a:gd name="connsiteX23" fmla="*/ 5863213 w 5933552"/>
                  <a:gd name="connsiteY23" fmla="*/ 1296238 h 2231543"/>
                  <a:gd name="connsiteX24" fmla="*/ 5893358 w 5933552"/>
                  <a:gd name="connsiteY24" fmla="*/ 1356528 h 2231543"/>
                  <a:gd name="connsiteX25" fmla="*/ 5893358 w 5933552"/>
                  <a:gd name="connsiteY25" fmla="*/ 1431891 h 2231543"/>
                  <a:gd name="connsiteX26" fmla="*/ 5928527 w 5933552"/>
                  <a:gd name="connsiteY26" fmla="*/ 1492181 h 2231543"/>
                  <a:gd name="connsiteX27" fmla="*/ 5918479 w 5933552"/>
                  <a:gd name="connsiteY27" fmla="*/ 1602713 h 2231543"/>
                  <a:gd name="connsiteX28" fmla="*/ 5898382 w 5933552"/>
                  <a:gd name="connsiteY28" fmla="*/ 1683100 h 2231543"/>
                  <a:gd name="connsiteX29" fmla="*/ 5918479 w 5933552"/>
                  <a:gd name="connsiteY29" fmla="*/ 1773535 h 2231543"/>
                  <a:gd name="connsiteX30" fmla="*/ 5933552 w 5933552"/>
                  <a:gd name="connsiteY30" fmla="*/ 1808704 h 2231543"/>
                  <a:gd name="connsiteX31" fmla="*/ 5812971 w 5933552"/>
                  <a:gd name="connsiteY31" fmla="*/ 1868994 h 2231543"/>
                  <a:gd name="connsiteX32" fmla="*/ 5812971 w 5933552"/>
                  <a:gd name="connsiteY32" fmla="*/ 1868994 h 2231543"/>
                  <a:gd name="connsiteX33" fmla="*/ 5727560 w 5933552"/>
                  <a:gd name="connsiteY33" fmla="*/ 1929284 h 2231543"/>
                  <a:gd name="connsiteX34" fmla="*/ 5390941 w 5933552"/>
                  <a:gd name="connsiteY34" fmla="*/ 1934309 h 2231543"/>
                  <a:gd name="connsiteX35" fmla="*/ 5215670 w 5933552"/>
                  <a:gd name="connsiteY35" fmla="*/ 1932917 h 2231543"/>
                  <a:gd name="connsiteX36" fmla="*/ 4373414 w 5933552"/>
                  <a:gd name="connsiteY36" fmla="*/ 1914260 h 2231543"/>
                  <a:gd name="connsiteX37" fmla="*/ 1498817 w 5933552"/>
                  <a:gd name="connsiteY37" fmla="*/ 1888865 h 2231543"/>
                  <a:gd name="connsiteX38" fmla="*/ 619914 w 5933552"/>
                  <a:gd name="connsiteY38" fmla="*/ 1833825 h 2231543"/>
                  <a:gd name="connsiteX39" fmla="*/ 281354 w 5933552"/>
                  <a:gd name="connsiteY39" fmla="*/ 1833825 h 2231543"/>
                  <a:gd name="connsiteX40" fmla="*/ 130629 w 5933552"/>
                  <a:gd name="connsiteY40" fmla="*/ 1758462 h 2231543"/>
                  <a:gd name="connsiteX41" fmla="*/ 10048 w 5933552"/>
                  <a:gd name="connsiteY41" fmla="*/ 1678076 h 2231543"/>
                  <a:gd name="connsiteX42" fmla="*/ 0 w 5933552"/>
                  <a:gd name="connsiteY42" fmla="*/ 1537399 h 2231543"/>
                  <a:gd name="connsiteX43" fmla="*/ 15072 w 5933552"/>
                  <a:gd name="connsiteY43" fmla="*/ 1487157 h 2231543"/>
                  <a:gd name="connsiteX44" fmla="*/ 15072 w 5933552"/>
                  <a:gd name="connsiteY44" fmla="*/ 1431891 h 2231543"/>
                  <a:gd name="connsiteX45" fmla="*/ 25121 w 5933552"/>
                  <a:gd name="connsiteY45" fmla="*/ 1381649 h 2231543"/>
                  <a:gd name="connsiteX46" fmla="*/ 40193 w 5933552"/>
                  <a:gd name="connsiteY46" fmla="*/ 1356528 h 2231543"/>
                  <a:gd name="connsiteX47" fmla="*/ 65314 w 5933552"/>
                  <a:gd name="connsiteY47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164538 w 5933552"/>
                  <a:gd name="connsiteY4" fmla="*/ 56488 h 2231543"/>
                  <a:gd name="connsiteX5" fmla="*/ 2306097 w 5933552"/>
                  <a:gd name="connsiteY5" fmla="*/ 1 h 2231543"/>
                  <a:gd name="connsiteX6" fmla="*/ 3029578 w 5933552"/>
                  <a:gd name="connsiteY6" fmla="*/ 55267 h 2231543"/>
                  <a:gd name="connsiteX7" fmla="*/ 3135086 w 5933552"/>
                  <a:gd name="connsiteY7" fmla="*/ 75364 h 2231543"/>
                  <a:gd name="connsiteX8" fmla="*/ 3255666 w 5933552"/>
                  <a:gd name="connsiteY8" fmla="*/ 95460 h 2231543"/>
                  <a:gd name="connsiteX9" fmla="*/ 3542044 w 5933552"/>
                  <a:gd name="connsiteY9" fmla="*/ 180871 h 2231543"/>
                  <a:gd name="connsiteX10" fmla="*/ 3798277 w 5933552"/>
                  <a:gd name="connsiteY10" fmla="*/ 316524 h 2231543"/>
                  <a:gd name="connsiteX11" fmla="*/ 4210259 w 5933552"/>
                  <a:gd name="connsiteY11" fmla="*/ 542612 h 2231543"/>
                  <a:gd name="connsiteX12" fmla="*/ 4340888 w 5933552"/>
                  <a:gd name="connsiteY12" fmla="*/ 622999 h 2231543"/>
                  <a:gd name="connsiteX13" fmla="*/ 4381081 w 5933552"/>
                  <a:gd name="connsiteY13" fmla="*/ 653144 h 2231543"/>
                  <a:gd name="connsiteX14" fmla="*/ 4752870 w 5933552"/>
                  <a:gd name="connsiteY14" fmla="*/ 683289 h 2231543"/>
                  <a:gd name="connsiteX15" fmla="*/ 5164853 w 5933552"/>
                  <a:gd name="connsiteY15" fmla="*/ 758651 h 2231543"/>
                  <a:gd name="connsiteX16" fmla="*/ 5441182 w 5933552"/>
                  <a:gd name="connsiteY16" fmla="*/ 823966 h 2231543"/>
                  <a:gd name="connsiteX17" fmla="*/ 5612004 w 5933552"/>
                  <a:gd name="connsiteY17" fmla="*/ 899328 h 2231543"/>
                  <a:gd name="connsiteX18" fmla="*/ 5807947 w 5933552"/>
                  <a:gd name="connsiteY18" fmla="*/ 1045029 h 2231543"/>
                  <a:gd name="connsiteX19" fmla="*/ 5823020 w 5933552"/>
                  <a:gd name="connsiteY19" fmla="*/ 1115368 h 2231543"/>
                  <a:gd name="connsiteX20" fmla="*/ 5838092 w 5933552"/>
                  <a:gd name="connsiteY20" fmla="*/ 1215851 h 2231543"/>
                  <a:gd name="connsiteX21" fmla="*/ 5823020 w 5933552"/>
                  <a:gd name="connsiteY21" fmla="*/ 1245996 h 2231543"/>
                  <a:gd name="connsiteX22" fmla="*/ 5863213 w 5933552"/>
                  <a:gd name="connsiteY22" fmla="*/ 1296238 h 2231543"/>
                  <a:gd name="connsiteX23" fmla="*/ 5893358 w 5933552"/>
                  <a:gd name="connsiteY23" fmla="*/ 1356528 h 2231543"/>
                  <a:gd name="connsiteX24" fmla="*/ 5893358 w 5933552"/>
                  <a:gd name="connsiteY24" fmla="*/ 1431891 h 2231543"/>
                  <a:gd name="connsiteX25" fmla="*/ 5928527 w 5933552"/>
                  <a:gd name="connsiteY25" fmla="*/ 1492181 h 2231543"/>
                  <a:gd name="connsiteX26" fmla="*/ 5918479 w 5933552"/>
                  <a:gd name="connsiteY26" fmla="*/ 1602713 h 2231543"/>
                  <a:gd name="connsiteX27" fmla="*/ 5898382 w 5933552"/>
                  <a:gd name="connsiteY27" fmla="*/ 1683100 h 2231543"/>
                  <a:gd name="connsiteX28" fmla="*/ 5918479 w 5933552"/>
                  <a:gd name="connsiteY28" fmla="*/ 1773535 h 2231543"/>
                  <a:gd name="connsiteX29" fmla="*/ 5933552 w 5933552"/>
                  <a:gd name="connsiteY29" fmla="*/ 1808704 h 2231543"/>
                  <a:gd name="connsiteX30" fmla="*/ 5812971 w 5933552"/>
                  <a:gd name="connsiteY30" fmla="*/ 1868994 h 2231543"/>
                  <a:gd name="connsiteX31" fmla="*/ 5812971 w 5933552"/>
                  <a:gd name="connsiteY31" fmla="*/ 1868994 h 2231543"/>
                  <a:gd name="connsiteX32" fmla="*/ 5727560 w 5933552"/>
                  <a:gd name="connsiteY32" fmla="*/ 1929284 h 2231543"/>
                  <a:gd name="connsiteX33" fmla="*/ 5390941 w 5933552"/>
                  <a:gd name="connsiteY33" fmla="*/ 1934309 h 2231543"/>
                  <a:gd name="connsiteX34" fmla="*/ 5215670 w 5933552"/>
                  <a:gd name="connsiteY34" fmla="*/ 1932917 h 2231543"/>
                  <a:gd name="connsiteX35" fmla="*/ 4373414 w 5933552"/>
                  <a:gd name="connsiteY35" fmla="*/ 1914260 h 2231543"/>
                  <a:gd name="connsiteX36" fmla="*/ 1498817 w 5933552"/>
                  <a:gd name="connsiteY36" fmla="*/ 1888865 h 2231543"/>
                  <a:gd name="connsiteX37" fmla="*/ 619914 w 5933552"/>
                  <a:gd name="connsiteY37" fmla="*/ 1833825 h 2231543"/>
                  <a:gd name="connsiteX38" fmla="*/ 281354 w 5933552"/>
                  <a:gd name="connsiteY38" fmla="*/ 1833825 h 2231543"/>
                  <a:gd name="connsiteX39" fmla="*/ 130629 w 5933552"/>
                  <a:gd name="connsiteY39" fmla="*/ 1758462 h 2231543"/>
                  <a:gd name="connsiteX40" fmla="*/ 10048 w 5933552"/>
                  <a:gd name="connsiteY40" fmla="*/ 1678076 h 2231543"/>
                  <a:gd name="connsiteX41" fmla="*/ 0 w 5933552"/>
                  <a:gd name="connsiteY41" fmla="*/ 1537399 h 2231543"/>
                  <a:gd name="connsiteX42" fmla="*/ 15072 w 5933552"/>
                  <a:gd name="connsiteY42" fmla="*/ 1487157 h 2231543"/>
                  <a:gd name="connsiteX43" fmla="*/ 15072 w 5933552"/>
                  <a:gd name="connsiteY43" fmla="*/ 1431891 h 2231543"/>
                  <a:gd name="connsiteX44" fmla="*/ 25121 w 5933552"/>
                  <a:gd name="connsiteY44" fmla="*/ 1381649 h 2231543"/>
                  <a:gd name="connsiteX45" fmla="*/ 40193 w 5933552"/>
                  <a:gd name="connsiteY45" fmla="*/ 1356528 h 2231543"/>
                  <a:gd name="connsiteX46" fmla="*/ 65314 w 5933552"/>
                  <a:gd name="connsiteY46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164538 w 5933552"/>
                  <a:gd name="connsiteY3" fmla="*/ 56488 h 2231543"/>
                  <a:gd name="connsiteX4" fmla="*/ 2306097 w 5933552"/>
                  <a:gd name="connsiteY4" fmla="*/ 1 h 2231543"/>
                  <a:gd name="connsiteX5" fmla="*/ 3029578 w 5933552"/>
                  <a:gd name="connsiteY5" fmla="*/ 55267 h 2231543"/>
                  <a:gd name="connsiteX6" fmla="*/ 3135086 w 5933552"/>
                  <a:gd name="connsiteY6" fmla="*/ 75364 h 2231543"/>
                  <a:gd name="connsiteX7" fmla="*/ 3255666 w 5933552"/>
                  <a:gd name="connsiteY7" fmla="*/ 95460 h 2231543"/>
                  <a:gd name="connsiteX8" fmla="*/ 3542044 w 5933552"/>
                  <a:gd name="connsiteY8" fmla="*/ 180871 h 2231543"/>
                  <a:gd name="connsiteX9" fmla="*/ 3798277 w 5933552"/>
                  <a:gd name="connsiteY9" fmla="*/ 316524 h 2231543"/>
                  <a:gd name="connsiteX10" fmla="*/ 4210259 w 5933552"/>
                  <a:gd name="connsiteY10" fmla="*/ 542612 h 2231543"/>
                  <a:gd name="connsiteX11" fmla="*/ 4340888 w 5933552"/>
                  <a:gd name="connsiteY11" fmla="*/ 622999 h 2231543"/>
                  <a:gd name="connsiteX12" fmla="*/ 4381081 w 5933552"/>
                  <a:gd name="connsiteY12" fmla="*/ 653144 h 2231543"/>
                  <a:gd name="connsiteX13" fmla="*/ 4752870 w 5933552"/>
                  <a:gd name="connsiteY13" fmla="*/ 683289 h 2231543"/>
                  <a:gd name="connsiteX14" fmla="*/ 5164853 w 5933552"/>
                  <a:gd name="connsiteY14" fmla="*/ 758651 h 2231543"/>
                  <a:gd name="connsiteX15" fmla="*/ 5441182 w 5933552"/>
                  <a:gd name="connsiteY15" fmla="*/ 823966 h 2231543"/>
                  <a:gd name="connsiteX16" fmla="*/ 5612004 w 5933552"/>
                  <a:gd name="connsiteY16" fmla="*/ 899328 h 2231543"/>
                  <a:gd name="connsiteX17" fmla="*/ 5807947 w 5933552"/>
                  <a:gd name="connsiteY17" fmla="*/ 1045029 h 2231543"/>
                  <a:gd name="connsiteX18" fmla="*/ 5823020 w 5933552"/>
                  <a:gd name="connsiteY18" fmla="*/ 1115368 h 2231543"/>
                  <a:gd name="connsiteX19" fmla="*/ 5838092 w 5933552"/>
                  <a:gd name="connsiteY19" fmla="*/ 1215851 h 2231543"/>
                  <a:gd name="connsiteX20" fmla="*/ 5823020 w 5933552"/>
                  <a:gd name="connsiteY20" fmla="*/ 1245996 h 2231543"/>
                  <a:gd name="connsiteX21" fmla="*/ 5863213 w 5933552"/>
                  <a:gd name="connsiteY21" fmla="*/ 1296238 h 2231543"/>
                  <a:gd name="connsiteX22" fmla="*/ 5893358 w 5933552"/>
                  <a:gd name="connsiteY22" fmla="*/ 1356528 h 2231543"/>
                  <a:gd name="connsiteX23" fmla="*/ 5893358 w 5933552"/>
                  <a:gd name="connsiteY23" fmla="*/ 1431891 h 2231543"/>
                  <a:gd name="connsiteX24" fmla="*/ 5928527 w 5933552"/>
                  <a:gd name="connsiteY24" fmla="*/ 1492181 h 2231543"/>
                  <a:gd name="connsiteX25" fmla="*/ 5918479 w 5933552"/>
                  <a:gd name="connsiteY25" fmla="*/ 1602713 h 2231543"/>
                  <a:gd name="connsiteX26" fmla="*/ 5898382 w 5933552"/>
                  <a:gd name="connsiteY26" fmla="*/ 1683100 h 2231543"/>
                  <a:gd name="connsiteX27" fmla="*/ 5918479 w 5933552"/>
                  <a:gd name="connsiteY27" fmla="*/ 1773535 h 2231543"/>
                  <a:gd name="connsiteX28" fmla="*/ 5933552 w 5933552"/>
                  <a:gd name="connsiteY28" fmla="*/ 1808704 h 2231543"/>
                  <a:gd name="connsiteX29" fmla="*/ 5812971 w 5933552"/>
                  <a:gd name="connsiteY29" fmla="*/ 1868994 h 2231543"/>
                  <a:gd name="connsiteX30" fmla="*/ 5812971 w 5933552"/>
                  <a:gd name="connsiteY30" fmla="*/ 1868994 h 2231543"/>
                  <a:gd name="connsiteX31" fmla="*/ 5727560 w 5933552"/>
                  <a:gd name="connsiteY31" fmla="*/ 1929284 h 2231543"/>
                  <a:gd name="connsiteX32" fmla="*/ 5390941 w 5933552"/>
                  <a:gd name="connsiteY32" fmla="*/ 1934309 h 2231543"/>
                  <a:gd name="connsiteX33" fmla="*/ 5215670 w 5933552"/>
                  <a:gd name="connsiteY33" fmla="*/ 1932917 h 2231543"/>
                  <a:gd name="connsiteX34" fmla="*/ 4373414 w 5933552"/>
                  <a:gd name="connsiteY34" fmla="*/ 1914260 h 2231543"/>
                  <a:gd name="connsiteX35" fmla="*/ 1498817 w 5933552"/>
                  <a:gd name="connsiteY35" fmla="*/ 1888865 h 2231543"/>
                  <a:gd name="connsiteX36" fmla="*/ 619914 w 5933552"/>
                  <a:gd name="connsiteY36" fmla="*/ 1833825 h 2231543"/>
                  <a:gd name="connsiteX37" fmla="*/ 281354 w 5933552"/>
                  <a:gd name="connsiteY37" fmla="*/ 1833825 h 2231543"/>
                  <a:gd name="connsiteX38" fmla="*/ 130629 w 5933552"/>
                  <a:gd name="connsiteY38" fmla="*/ 1758462 h 2231543"/>
                  <a:gd name="connsiteX39" fmla="*/ 10048 w 5933552"/>
                  <a:gd name="connsiteY39" fmla="*/ 1678076 h 2231543"/>
                  <a:gd name="connsiteX40" fmla="*/ 0 w 5933552"/>
                  <a:gd name="connsiteY40" fmla="*/ 1537399 h 2231543"/>
                  <a:gd name="connsiteX41" fmla="*/ 15072 w 5933552"/>
                  <a:gd name="connsiteY41" fmla="*/ 1487157 h 2231543"/>
                  <a:gd name="connsiteX42" fmla="*/ 15072 w 5933552"/>
                  <a:gd name="connsiteY42" fmla="*/ 1431891 h 2231543"/>
                  <a:gd name="connsiteX43" fmla="*/ 25121 w 5933552"/>
                  <a:gd name="connsiteY43" fmla="*/ 1381649 h 2231543"/>
                  <a:gd name="connsiteX44" fmla="*/ 40193 w 5933552"/>
                  <a:gd name="connsiteY44" fmla="*/ 1356528 h 2231543"/>
                  <a:gd name="connsiteX45" fmla="*/ 65314 w 5933552"/>
                  <a:gd name="connsiteY45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164538 w 5933552"/>
                  <a:gd name="connsiteY2" fmla="*/ 56488 h 2231543"/>
                  <a:gd name="connsiteX3" fmla="*/ 2306097 w 5933552"/>
                  <a:gd name="connsiteY3" fmla="*/ 1 h 2231543"/>
                  <a:gd name="connsiteX4" fmla="*/ 3029578 w 5933552"/>
                  <a:gd name="connsiteY4" fmla="*/ 55267 h 2231543"/>
                  <a:gd name="connsiteX5" fmla="*/ 3135086 w 5933552"/>
                  <a:gd name="connsiteY5" fmla="*/ 75364 h 2231543"/>
                  <a:gd name="connsiteX6" fmla="*/ 3255666 w 5933552"/>
                  <a:gd name="connsiteY6" fmla="*/ 95460 h 2231543"/>
                  <a:gd name="connsiteX7" fmla="*/ 3542044 w 5933552"/>
                  <a:gd name="connsiteY7" fmla="*/ 180871 h 2231543"/>
                  <a:gd name="connsiteX8" fmla="*/ 3798277 w 5933552"/>
                  <a:gd name="connsiteY8" fmla="*/ 316524 h 2231543"/>
                  <a:gd name="connsiteX9" fmla="*/ 4210259 w 5933552"/>
                  <a:gd name="connsiteY9" fmla="*/ 542612 h 2231543"/>
                  <a:gd name="connsiteX10" fmla="*/ 4340888 w 5933552"/>
                  <a:gd name="connsiteY10" fmla="*/ 622999 h 2231543"/>
                  <a:gd name="connsiteX11" fmla="*/ 4381081 w 5933552"/>
                  <a:gd name="connsiteY11" fmla="*/ 653144 h 2231543"/>
                  <a:gd name="connsiteX12" fmla="*/ 4752870 w 5933552"/>
                  <a:gd name="connsiteY12" fmla="*/ 683289 h 2231543"/>
                  <a:gd name="connsiteX13" fmla="*/ 5164853 w 5933552"/>
                  <a:gd name="connsiteY13" fmla="*/ 758651 h 2231543"/>
                  <a:gd name="connsiteX14" fmla="*/ 5441182 w 5933552"/>
                  <a:gd name="connsiteY14" fmla="*/ 823966 h 2231543"/>
                  <a:gd name="connsiteX15" fmla="*/ 5612004 w 5933552"/>
                  <a:gd name="connsiteY15" fmla="*/ 899328 h 2231543"/>
                  <a:gd name="connsiteX16" fmla="*/ 5807947 w 5933552"/>
                  <a:gd name="connsiteY16" fmla="*/ 1045029 h 2231543"/>
                  <a:gd name="connsiteX17" fmla="*/ 5823020 w 5933552"/>
                  <a:gd name="connsiteY17" fmla="*/ 1115368 h 2231543"/>
                  <a:gd name="connsiteX18" fmla="*/ 5838092 w 5933552"/>
                  <a:gd name="connsiteY18" fmla="*/ 1215851 h 2231543"/>
                  <a:gd name="connsiteX19" fmla="*/ 5823020 w 5933552"/>
                  <a:gd name="connsiteY19" fmla="*/ 1245996 h 2231543"/>
                  <a:gd name="connsiteX20" fmla="*/ 5863213 w 5933552"/>
                  <a:gd name="connsiteY20" fmla="*/ 1296238 h 2231543"/>
                  <a:gd name="connsiteX21" fmla="*/ 5893358 w 5933552"/>
                  <a:gd name="connsiteY21" fmla="*/ 1356528 h 2231543"/>
                  <a:gd name="connsiteX22" fmla="*/ 5893358 w 5933552"/>
                  <a:gd name="connsiteY22" fmla="*/ 1431891 h 2231543"/>
                  <a:gd name="connsiteX23" fmla="*/ 5928527 w 5933552"/>
                  <a:gd name="connsiteY23" fmla="*/ 1492181 h 2231543"/>
                  <a:gd name="connsiteX24" fmla="*/ 5918479 w 5933552"/>
                  <a:gd name="connsiteY24" fmla="*/ 1602713 h 2231543"/>
                  <a:gd name="connsiteX25" fmla="*/ 5898382 w 5933552"/>
                  <a:gd name="connsiteY25" fmla="*/ 1683100 h 2231543"/>
                  <a:gd name="connsiteX26" fmla="*/ 5918479 w 5933552"/>
                  <a:gd name="connsiteY26" fmla="*/ 1773535 h 2231543"/>
                  <a:gd name="connsiteX27" fmla="*/ 5933552 w 5933552"/>
                  <a:gd name="connsiteY27" fmla="*/ 1808704 h 2231543"/>
                  <a:gd name="connsiteX28" fmla="*/ 5812971 w 5933552"/>
                  <a:gd name="connsiteY28" fmla="*/ 1868994 h 2231543"/>
                  <a:gd name="connsiteX29" fmla="*/ 5812971 w 5933552"/>
                  <a:gd name="connsiteY29" fmla="*/ 1868994 h 2231543"/>
                  <a:gd name="connsiteX30" fmla="*/ 5727560 w 5933552"/>
                  <a:gd name="connsiteY30" fmla="*/ 1929284 h 2231543"/>
                  <a:gd name="connsiteX31" fmla="*/ 5390941 w 5933552"/>
                  <a:gd name="connsiteY31" fmla="*/ 1934309 h 2231543"/>
                  <a:gd name="connsiteX32" fmla="*/ 5215670 w 5933552"/>
                  <a:gd name="connsiteY32" fmla="*/ 1932917 h 2231543"/>
                  <a:gd name="connsiteX33" fmla="*/ 4373414 w 5933552"/>
                  <a:gd name="connsiteY33" fmla="*/ 1914260 h 2231543"/>
                  <a:gd name="connsiteX34" fmla="*/ 1498817 w 5933552"/>
                  <a:gd name="connsiteY34" fmla="*/ 1888865 h 2231543"/>
                  <a:gd name="connsiteX35" fmla="*/ 619914 w 5933552"/>
                  <a:gd name="connsiteY35" fmla="*/ 1833825 h 2231543"/>
                  <a:gd name="connsiteX36" fmla="*/ 281354 w 5933552"/>
                  <a:gd name="connsiteY36" fmla="*/ 1833825 h 2231543"/>
                  <a:gd name="connsiteX37" fmla="*/ 130629 w 5933552"/>
                  <a:gd name="connsiteY37" fmla="*/ 1758462 h 2231543"/>
                  <a:gd name="connsiteX38" fmla="*/ 10048 w 5933552"/>
                  <a:gd name="connsiteY38" fmla="*/ 1678076 h 2231543"/>
                  <a:gd name="connsiteX39" fmla="*/ 0 w 5933552"/>
                  <a:gd name="connsiteY39" fmla="*/ 1537399 h 2231543"/>
                  <a:gd name="connsiteX40" fmla="*/ 15072 w 5933552"/>
                  <a:gd name="connsiteY40" fmla="*/ 1487157 h 2231543"/>
                  <a:gd name="connsiteX41" fmla="*/ 15072 w 5933552"/>
                  <a:gd name="connsiteY41" fmla="*/ 1431891 h 2231543"/>
                  <a:gd name="connsiteX42" fmla="*/ 25121 w 5933552"/>
                  <a:gd name="connsiteY42" fmla="*/ 1381649 h 2231543"/>
                  <a:gd name="connsiteX43" fmla="*/ 40193 w 5933552"/>
                  <a:gd name="connsiteY43" fmla="*/ 1356528 h 2231543"/>
                  <a:gd name="connsiteX44" fmla="*/ 65314 w 5933552"/>
                  <a:gd name="connsiteY44" fmla="*/ 1311311 h 2231543"/>
                  <a:gd name="connsiteX0" fmla="*/ 65314 w 5933552"/>
                  <a:gd name="connsiteY0" fmla="*/ 1311311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41" fmla="*/ 25121 w 5933552"/>
                  <a:gd name="connsiteY41" fmla="*/ 1381649 h 2231543"/>
                  <a:gd name="connsiteX42" fmla="*/ 40193 w 5933552"/>
                  <a:gd name="connsiteY42" fmla="*/ 1356528 h 2231543"/>
                  <a:gd name="connsiteX43" fmla="*/ 65314 w 5933552"/>
                  <a:gd name="connsiteY43" fmla="*/ 1311311 h 2231543"/>
                  <a:gd name="connsiteX0" fmla="*/ 40193 w 5933552"/>
                  <a:gd name="connsiteY0" fmla="*/ 1356528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41" fmla="*/ 25121 w 5933552"/>
                  <a:gd name="connsiteY41" fmla="*/ 1381649 h 2231543"/>
                  <a:gd name="connsiteX42" fmla="*/ 40193 w 5933552"/>
                  <a:gd name="connsiteY42" fmla="*/ 1356528 h 2231543"/>
                  <a:gd name="connsiteX0" fmla="*/ 25121 w 5933552"/>
                  <a:gd name="connsiteY0" fmla="*/ 1381649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41" fmla="*/ 25121 w 5933552"/>
                  <a:gd name="connsiteY41" fmla="*/ 1381649 h 2231543"/>
                  <a:gd name="connsiteX0" fmla="*/ 15072 w 5933552"/>
                  <a:gd name="connsiteY0" fmla="*/ 1431891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0" fmla="*/ 15072 w 5933552"/>
                  <a:gd name="connsiteY0" fmla="*/ 1487157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0" fmla="*/ 0 w 5933552"/>
                  <a:gd name="connsiteY0" fmla="*/ 1537399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0" fmla="*/ 0 w 5933552"/>
                  <a:gd name="connsiteY0" fmla="*/ 1537399 h 2231543"/>
                  <a:gd name="connsiteX1" fmla="*/ 145363 w 5933552"/>
                  <a:gd name="connsiteY1" fmla="*/ 262566 h 2231543"/>
                  <a:gd name="connsiteX2" fmla="*/ 164538 w 5933552"/>
                  <a:gd name="connsiteY2" fmla="*/ 56488 h 2231543"/>
                  <a:gd name="connsiteX3" fmla="*/ 2306097 w 5933552"/>
                  <a:gd name="connsiteY3" fmla="*/ 1 h 2231543"/>
                  <a:gd name="connsiteX4" fmla="*/ 3029578 w 5933552"/>
                  <a:gd name="connsiteY4" fmla="*/ 55267 h 2231543"/>
                  <a:gd name="connsiteX5" fmla="*/ 3135086 w 5933552"/>
                  <a:gd name="connsiteY5" fmla="*/ 75364 h 2231543"/>
                  <a:gd name="connsiteX6" fmla="*/ 3255666 w 5933552"/>
                  <a:gd name="connsiteY6" fmla="*/ 95460 h 2231543"/>
                  <a:gd name="connsiteX7" fmla="*/ 3542044 w 5933552"/>
                  <a:gd name="connsiteY7" fmla="*/ 180871 h 2231543"/>
                  <a:gd name="connsiteX8" fmla="*/ 3798277 w 5933552"/>
                  <a:gd name="connsiteY8" fmla="*/ 316524 h 2231543"/>
                  <a:gd name="connsiteX9" fmla="*/ 4210259 w 5933552"/>
                  <a:gd name="connsiteY9" fmla="*/ 542612 h 2231543"/>
                  <a:gd name="connsiteX10" fmla="*/ 4340888 w 5933552"/>
                  <a:gd name="connsiteY10" fmla="*/ 622999 h 2231543"/>
                  <a:gd name="connsiteX11" fmla="*/ 4381081 w 5933552"/>
                  <a:gd name="connsiteY11" fmla="*/ 653144 h 2231543"/>
                  <a:gd name="connsiteX12" fmla="*/ 4752870 w 5933552"/>
                  <a:gd name="connsiteY12" fmla="*/ 683289 h 2231543"/>
                  <a:gd name="connsiteX13" fmla="*/ 5164853 w 5933552"/>
                  <a:gd name="connsiteY13" fmla="*/ 758651 h 2231543"/>
                  <a:gd name="connsiteX14" fmla="*/ 5441182 w 5933552"/>
                  <a:gd name="connsiteY14" fmla="*/ 823966 h 2231543"/>
                  <a:gd name="connsiteX15" fmla="*/ 5612004 w 5933552"/>
                  <a:gd name="connsiteY15" fmla="*/ 899328 h 2231543"/>
                  <a:gd name="connsiteX16" fmla="*/ 5807947 w 5933552"/>
                  <a:gd name="connsiteY16" fmla="*/ 1045029 h 2231543"/>
                  <a:gd name="connsiteX17" fmla="*/ 5823020 w 5933552"/>
                  <a:gd name="connsiteY17" fmla="*/ 1115368 h 2231543"/>
                  <a:gd name="connsiteX18" fmla="*/ 5838092 w 5933552"/>
                  <a:gd name="connsiteY18" fmla="*/ 1215851 h 2231543"/>
                  <a:gd name="connsiteX19" fmla="*/ 5823020 w 5933552"/>
                  <a:gd name="connsiteY19" fmla="*/ 1245996 h 2231543"/>
                  <a:gd name="connsiteX20" fmla="*/ 5863213 w 5933552"/>
                  <a:gd name="connsiteY20" fmla="*/ 1296238 h 2231543"/>
                  <a:gd name="connsiteX21" fmla="*/ 5893358 w 5933552"/>
                  <a:gd name="connsiteY21" fmla="*/ 1356528 h 2231543"/>
                  <a:gd name="connsiteX22" fmla="*/ 5893358 w 5933552"/>
                  <a:gd name="connsiteY22" fmla="*/ 1431891 h 2231543"/>
                  <a:gd name="connsiteX23" fmla="*/ 5928527 w 5933552"/>
                  <a:gd name="connsiteY23" fmla="*/ 1492181 h 2231543"/>
                  <a:gd name="connsiteX24" fmla="*/ 5918479 w 5933552"/>
                  <a:gd name="connsiteY24" fmla="*/ 1602713 h 2231543"/>
                  <a:gd name="connsiteX25" fmla="*/ 5898382 w 5933552"/>
                  <a:gd name="connsiteY25" fmla="*/ 1683100 h 2231543"/>
                  <a:gd name="connsiteX26" fmla="*/ 5918479 w 5933552"/>
                  <a:gd name="connsiteY26" fmla="*/ 1773535 h 2231543"/>
                  <a:gd name="connsiteX27" fmla="*/ 5933552 w 5933552"/>
                  <a:gd name="connsiteY27" fmla="*/ 1808704 h 2231543"/>
                  <a:gd name="connsiteX28" fmla="*/ 5812971 w 5933552"/>
                  <a:gd name="connsiteY28" fmla="*/ 1868994 h 2231543"/>
                  <a:gd name="connsiteX29" fmla="*/ 5812971 w 5933552"/>
                  <a:gd name="connsiteY29" fmla="*/ 1868994 h 2231543"/>
                  <a:gd name="connsiteX30" fmla="*/ 5727560 w 5933552"/>
                  <a:gd name="connsiteY30" fmla="*/ 1929284 h 2231543"/>
                  <a:gd name="connsiteX31" fmla="*/ 5390941 w 5933552"/>
                  <a:gd name="connsiteY31" fmla="*/ 1934309 h 2231543"/>
                  <a:gd name="connsiteX32" fmla="*/ 5215670 w 5933552"/>
                  <a:gd name="connsiteY32" fmla="*/ 1932917 h 2231543"/>
                  <a:gd name="connsiteX33" fmla="*/ 4373414 w 5933552"/>
                  <a:gd name="connsiteY33" fmla="*/ 1914260 h 2231543"/>
                  <a:gd name="connsiteX34" fmla="*/ 1498817 w 5933552"/>
                  <a:gd name="connsiteY34" fmla="*/ 1888865 h 2231543"/>
                  <a:gd name="connsiteX35" fmla="*/ 619914 w 5933552"/>
                  <a:gd name="connsiteY35" fmla="*/ 1833825 h 2231543"/>
                  <a:gd name="connsiteX36" fmla="*/ 281354 w 5933552"/>
                  <a:gd name="connsiteY36" fmla="*/ 1833825 h 2231543"/>
                  <a:gd name="connsiteX37" fmla="*/ 130629 w 5933552"/>
                  <a:gd name="connsiteY37" fmla="*/ 1758462 h 2231543"/>
                  <a:gd name="connsiteX38" fmla="*/ 10048 w 5933552"/>
                  <a:gd name="connsiteY38" fmla="*/ 1678076 h 2231543"/>
                  <a:gd name="connsiteX39" fmla="*/ 0 w 5933552"/>
                  <a:gd name="connsiteY39" fmla="*/ 1537399 h 2231543"/>
                  <a:gd name="connsiteX0" fmla="*/ 0 w 5933552"/>
                  <a:gd name="connsiteY0" fmla="*/ 1548194 h 2242338"/>
                  <a:gd name="connsiteX1" fmla="*/ 145363 w 5933552"/>
                  <a:gd name="connsiteY1" fmla="*/ 273361 h 2242338"/>
                  <a:gd name="connsiteX2" fmla="*/ 100933 w 5933552"/>
                  <a:gd name="connsiteY2" fmla="*/ 5365 h 2242338"/>
                  <a:gd name="connsiteX3" fmla="*/ 2306097 w 5933552"/>
                  <a:gd name="connsiteY3" fmla="*/ 10796 h 2242338"/>
                  <a:gd name="connsiteX4" fmla="*/ 3029578 w 5933552"/>
                  <a:gd name="connsiteY4" fmla="*/ 66062 h 2242338"/>
                  <a:gd name="connsiteX5" fmla="*/ 3135086 w 5933552"/>
                  <a:gd name="connsiteY5" fmla="*/ 86159 h 2242338"/>
                  <a:gd name="connsiteX6" fmla="*/ 3255666 w 5933552"/>
                  <a:gd name="connsiteY6" fmla="*/ 106255 h 2242338"/>
                  <a:gd name="connsiteX7" fmla="*/ 3542044 w 5933552"/>
                  <a:gd name="connsiteY7" fmla="*/ 191666 h 2242338"/>
                  <a:gd name="connsiteX8" fmla="*/ 3798277 w 5933552"/>
                  <a:gd name="connsiteY8" fmla="*/ 327319 h 2242338"/>
                  <a:gd name="connsiteX9" fmla="*/ 4210259 w 5933552"/>
                  <a:gd name="connsiteY9" fmla="*/ 553407 h 2242338"/>
                  <a:gd name="connsiteX10" fmla="*/ 4340888 w 5933552"/>
                  <a:gd name="connsiteY10" fmla="*/ 633794 h 2242338"/>
                  <a:gd name="connsiteX11" fmla="*/ 4381081 w 5933552"/>
                  <a:gd name="connsiteY11" fmla="*/ 663939 h 2242338"/>
                  <a:gd name="connsiteX12" fmla="*/ 4752870 w 5933552"/>
                  <a:gd name="connsiteY12" fmla="*/ 694084 h 2242338"/>
                  <a:gd name="connsiteX13" fmla="*/ 5164853 w 5933552"/>
                  <a:gd name="connsiteY13" fmla="*/ 769446 h 2242338"/>
                  <a:gd name="connsiteX14" fmla="*/ 5441182 w 5933552"/>
                  <a:gd name="connsiteY14" fmla="*/ 834761 h 2242338"/>
                  <a:gd name="connsiteX15" fmla="*/ 5612004 w 5933552"/>
                  <a:gd name="connsiteY15" fmla="*/ 910123 h 2242338"/>
                  <a:gd name="connsiteX16" fmla="*/ 5807947 w 5933552"/>
                  <a:gd name="connsiteY16" fmla="*/ 1055824 h 2242338"/>
                  <a:gd name="connsiteX17" fmla="*/ 5823020 w 5933552"/>
                  <a:gd name="connsiteY17" fmla="*/ 1126163 h 2242338"/>
                  <a:gd name="connsiteX18" fmla="*/ 5838092 w 5933552"/>
                  <a:gd name="connsiteY18" fmla="*/ 1226646 h 2242338"/>
                  <a:gd name="connsiteX19" fmla="*/ 5823020 w 5933552"/>
                  <a:gd name="connsiteY19" fmla="*/ 1256791 h 2242338"/>
                  <a:gd name="connsiteX20" fmla="*/ 5863213 w 5933552"/>
                  <a:gd name="connsiteY20" fmla="*/ 1307033 h 2242338"/>
                  <a:gd name="connsiteX21" fmla="*/ 5893358 w 5933552"/>
                  <a:gd name="connsiteY21" fmla="*/ 1367323 h 2242338"/>
                  <a:gd name="connsiteX22" fmla="*/ 5893358 w 5933552"/>
                  <a:gd name="connsiteY22" fmla="*/ 1442686 h 2242338"/>
                  <a:gd name="connsiteX23" fmla="*/ 5928527 w 5933552"/>
                  <a:gd name="connsiteY23" fmla="*/ 1502976 h 2242338"/>
                  <a:gd name="connsiteX24" fmla="*/ 5918479 w 5933552"/>
                  <a:gd name="connsiteY24" fmla="*/ 1613508 h 2242338"/>
                  <a:gd name="connsiteX25" fmla="*/ 5898382 w 5933552"/>
                  <a:gd name="connsiteY25" fmla="*/ 1693895 h 2242338"/>
                  <a:gd name="connsiteX26" fmla="*/ 5918479 w 5933552"/>
                  <a:gd name="connsiteY26" fmla="*/ 1784330 h 2242338"/>
                  <a:gd name="connsiteX27" fmla="*/ 5933552 w 5933552"/>
                  <a:gd name="connsiteY27" fmla="*/ 1819499 h 2242338"/>
                  <a:gd name="connsiteX28" fmla="*/ 5812971 w 5933552"/>
                  <a:gd name="connsiteY28" fmla="*/ 1879789 h 2242338"/>
                  <a:gd name="connsiteX29" fmla="*/ 5812971 w 5933552"/>
                  <a:gd name="connsiteY29" fmla="*/ 1879789 h 2242338"/>
                  <a:gd name="connsiteX30" fmla="*/ 5727560 w 5933552"/>
                  <a:gd name="connsiteY30" fmla="*/ 1940079 h 2242338"/>
                  <a:gd name="connsiteX31" fmla="*/ 5390941 w 5933552"/>
                  <a:gd name="connsiteY31" fmla="*/ 1945104 h 2242338"/>
                  <a:gd name="connsiteX32" fmla="*/ 5215670 w 5933552"/>
                  <a:gd name="connsiteY32" fmla="*/ 1943712 h 2242338"/>
                  <a:gd name="connsiteX33" fmla="*/ 4373414 w 5933552"/>
                  <a:gd name="connsiteY33" fmla="*/ 1925055 h 2242338"/>
                  <a:gd name="connsiteX34" fmla="*/ 1498817 w 5933552"/>
                  <a:gd name="connsiteY34" fmla="*/ 1899660 h 2242338"/>
                  <a:gd name="connsiteX35" fmla="*/ 619914 w 5933552"/>
                  <a:gd name="connsiteY35" fmla="*/ 1844620 h 2242338"/>
                  <a:gd name="connsiteX36" fmla="*/ 281354 w 5933552"/>
                  <a:gd name="connsiteY36" fmla="*/ 1844620 h 2242338"/>
                  <a:gd name="connsiteX37" fmla="*/ 130629 w 5933552"/>
                  <a:gd name="connsiteY37" fmla="*/ 1769257 h 2242338"/>
                  <a:gd name="connsiteX38" fmla="*/ 10048 w 5933552"/>
                  <a:gd name="connsiteY38" fmla="*/ 1688871 h 2242338"/>
                  <a:gd name="connsiteX39" fmla="*/ 0 w 5933552"/>
                  <a:gd name="connsiteY39" fmla="*/ 1548194 h 2242338"/>
                  <a:gd name="connsiteX0" fmla="*/ 85557 w 6019109"/>
                  <a:gd name="connsiteY0" fmla="*/ 1559125 h 2253269"/>
                  <a:gd name="connsiteX1" fmla="*/ 103710 w 6019109"/>
                  <a:gd name="connsiteY1" fmla="*/ 230112 h 2253269"/>
                  <a:gd name="connsiteX2" fmla="*/ 186490 w 6019109"/>
                  <a:gd name="connsiteY2" fmla="*/ 16296 h 2253269"/>
                  <a:gd name="connsiteX3" fmla="*/ 2391654 w 6019109"/>
                  <a:gd name="connsiteY3" fmla="*/ 21727 h 2253269"/>
                  <a:gd name="connsiteX4" fmla="*/ 3115135 w 6019109"/>
                  <a:gd name="connsiteY4" fmla="*/ 76993 h 2253269"/>
                  <a:gd name="connsiteX5" fmla="*/ 3220643 w 6019109"/>
                  <a:gd name="connsiteY5" fmla="*/ 97090 h 2253269"/>
                  <a:gd name="connsiteX6" fmla="*/ 3341223 w 6019109"/>
                  <a:gd name="connsiteY6" fmla="*/ 117186 h 2253269"/>
                  <a:gd name="connsiteX7" fmla="*/ 3627601 w 6019109"/>
                  <a:gd name="connsiteY7" fmla="*/ 202597 h 2253269"/>
                  <a:gd name="connsiteX8" fmla="*/ 3883834 w 6019109"/>
                  <a:gd name="connsiteY8" fmla="*/ 338250 h 2253269"/>
                  <a:gd name="connsiteX9" fmla="*/ 4295816 w 6019109"/>
                  <a:gd name="connsiteY9" fmla="*/ 564338 h 2253269"/>
                  <a:gd name="connsiteX10" fmla="*/ 4426445 w 6019109"/>
                  <a:gd name="connsiteY10" fmla="*/ 644725 h 2253269"/>
                  <a:gd name="connsiteX11" fmla="*/ 4466638 w 6019109"/>
                  <a:gd name="connsiteY11" fmla="*/ 674870 h 2253269"/>
                  <a:gd name="connsiteX12" fmla="*/ 4838427 w 6019109"/>
                  <a:gd name="connsiteY12" fmla="*/ 705015 h 2253269"/>
                  <a:gd name="connsiteX13" fmla="*/ 5250410 w 6019109"/>
                  <a:gd name="connsiteY13" fmla="*/ 780377 h 2253269"/>
                  <a:gd name="connsiteX14" fmla="*/ 5526739 w 6019109"/>
                  <a:gd name="connsiteY14" fmla="*/ 845692 h 2253269"/>
                  <a:gd name="connsiteX15" fmla="*/ 5697561 w 6019109"/>
                  <a:gd name="connsiteY15" fmla="*/ 921054 h 2253269"/>
                  <a:gd name="connsiteX16" fmla="*/ 5893504 w 6019109"/>
                  <a:gd name="connsiteY16" fmla="*/ 1066755 h 2253269"/>
                  <a:gd name="connsiteX17" fmla="*/ 5908577 w 6019109"/>
                  <a:gd name="connsiteY17" fmla="*/ 1137094 h 2253269"/>
                  <a:gd name="connsiteX18" fmla="*/ 5923649 w 6019109"/>
                  <a:gd name="connsiteY18" fmla="*/ 1237577 h 2253269"/>
                  <a:gd name="connsiteX19" fmla="*/ 5908577 w 6019109"/>
                  <a:gd name="connsiteY19" fmla="*/ 1267722 h 2253269"/>
                  <a:gd name="connsiteX20" fmla="*/ 5948770 w 6019109"/>
                  <a:gd name="connsiteY20" fmla="*/ 1317964 h 2253269"/>
                  <a:gd name="connsiteX21" fmla="*/ 5978915 w 6019109"/>
                  <a:gd name="connsiteY21" fmla="*/ 1378254 h 2253269"/>
                  <a:gd name="connsiteX22" fmla="*/ 5978915 w 6019109"/>
                  <a:gd name="connsiteY22" fmla="*/ 1453617 h 2253269"/>
                  <a:gd name="connsiteX23" fmla="*/ 6014084 w 6019109"/>
                  <a:gd name="connsiteY23" fmla="*/ 1513907 h 2253269"/>
                  <a:gd name="connsiteX24" fmla="*/ 6004036 w 6019109"/>
                  <a:gd name="connsiteY24" fmla="*/ 1624439 h 2253269"/>
                  <a:gd name="connsiteX25" fmla="*/ 5983939 w 6019109"/>
                  <a:gd name="connsiteY25" fmla="*/ 1704826 h 2253269"/>
                  <a:gd name="connsiteX26" fmla="*/ 6004036 w 6019109"/>
                  <a:gd name="connsiteY26" fmla="*/ 1795261 h 2253269"/>
                  <a:gd name="connsiteX27" fmla="*/ 6019109 w 6019109"/>
                  <a:gd name="connsiteY27" fmla="*/ 1830430 h 2253269"/>
                  <a:gd name="connsiteX28" fmla="*/ 5898528 w 6019109"/>
                  <a:gd name="connsiteY28" fmla="*/ 1890720 h 2253269"/>
                  <a:gd name="connsiteX29" fmla="*/ 5898528 w 6019109"/>
                  <a:gd name="connsiteY29" fmla="*/ 1890720 h 2253269"/>
                  <a:gd name="connsiteX30" fmla="*/ 5813117 w 6019109"/>
                  <a:gd name="connsiteY30" fmla="*/ 1951010 h 2253269"/>
                  <a:gd name="connsiteX31" fmla="*/ 5476498 w 6019109"/>
                  <a:gd name="connsiteY31" fmla="*/ 1956035 h 2253269"/>
                  <a:gd name="connsiteX32" fmla="*/ 5301227 w 6019109"/>
                  <a:gd name="connsiteY32" fmla="*/ 1954643 h 2253269"/>
                  <a:gd name="connsiteX33" fmla="*/ 4458971 w 6019109"/>
                  <a:gd name="connsiteY33" fmla="*/ 1935986 h 2253269"/>
                  <a:gd name="connsiteX34" fmla="*/ 1584374 w 6019109"/>
                  <a:gd name="connsiteY34" fmla="*/ 1910591 h 2253269"/>
                  <a:gd name="connsiteX35" fmla="*/ 705471 w 6019109"/>
                  <a:gd name="connsiteY35" fmla="*/ 1855551 h 2253269"/>
                  <a:gd name="connsiteX36" fmla="*/ 366911 w 6019109"/>
                  <a:gd name="connsiteY36" fmla="*/ 1855551 h 2253269"/>
                  <a:gd name="connsiteX37" fmla="*/ 216186 w 6019109"/>
                  <a:gd name="connsiteY37" fmla="*/ 1780188 h 2253269"/>
                  <a:gd name="connsiteX38" fmla="*/ 95605 w 6019109"/>
                  <a:gd name="connsiteY38" fmla="*/ 1699802 h 2253269"/>
                  <a:gd name="connsiteX39" fmla="*/ 85557 w 6019109"/>
                  <a:gd name="connsiteY39" fmla="*/ 1559125 h 2253269"/>
                  <a:gd name="connsiteX0" fmla="*/ 98729 w 6032281"/>
                  <a:gd name="connsiteY0" fmla="*/ 1559125 h 2253269"/>
                  <a:gd name="connsiteX1" fmla="*/ 116882 w 6032281"/>
                  <a:gd name="connsiteY1" fmla="*/ 230112 h 2253269"/>
                  <a:gd name="connsiteX2" fmla="*/ 199662 w 6032281"/>
                  <a:gd name="connsiteY2" fmla="*/ 16296 h 2253269"/>
                  <a:gd name="connsiteX3" fmla="*/ 2404826 w 6032281"/>
                  <a:gd name="connsiteY3" fmla="*/ 21727 h 2253269"/>
                  <a:gd name="connsiteX4" fmla="*/ 3128307 w 6032281"/>
                  <a:gd name="connsiteY4" fmla="*/ 76993 h 2253269"/>
                  <a:gd name="connsiteX5" fmla="*/ 3233815 w 6032281"/>
                  <a:gd name="connsiteY5" fmla="*/ 97090 h 2253269"/>
                  <a:gd name="connsiteX6" fmla="*/ 3354395 w 6032281"/>
                  <a:gd name="connsiteY6" fmla="*/ 117186 h 2253269"/>
                  <a:gd name="connsiteX7" fmla="*/ 3640773 w 6032281"/>
                  <a:gd name="connsiteY7" fmla="*/ 202597 h 2253269"/>
                  <a:gd name="connsiteX8" fmla="*/ 3897006 w 6032281"/>
                  <a:gd name="connsiteY8" fmla="*/ 338250 h 2253269"/>
                  <a:gd name="connsiteX9" fmla="*/ 4308988 w 6032281"/>
                  <a:gd name="connsiteY9" fmla="*/ 564338 h 2253269"/>
                  <a:gd name="connsiteX10" fmla="*/ 4439617 w 6032281"/>
                  <a:gd name="connsiteY10" fmla="*/ 644725 h 2253269"/>
                  <a:gd name="connsiteX11" fmla="*/ 4479810 w 6032281"/>
                  <a:gd name="connsiteY11" fmla="*/ 674870 h 2253269"/>
                  <a:gd name="connsiteX12" fmla="*/ 4851599 w 6032281"/>
                  <a:gd name="connsiteY12" fmla="*/ 705015 h 2253269"/>
                  <a:gd name="connsiteX13" fmla="*/ 5263582 w 6032281"/>
                  <a:gd name="connsiteY13" fmla="*/ 780377 h 2253269"/>
                  <a:gd name="connsiteX14" fmla="*/ 5539911 w 6032281"/>
                  <a:gd name="connsiteY14" fmla="*/ 845692 h 2253269"/>
                  <a:gd name="connsiteX15" fmla="*/ 5710733 w 6032281"/>
                  <a:gd name="connsiteY15" fmla="*/ 921054 h 2253269"/>
                  <a:gd name="connsiteX16" fmla="*/ 5906676 w 6032281"/>
                  <a:gd name="connsiteY16" fmla="*/ 1066755 h 2253269"/>
                  <a:gd name="connsiteX17" fmla="*/ 5921749 w 6032281"/>
                  <a:gd name="connsiteY17" fmla="*/ 1137094 h 2253269"/>
                  <a:gd name="connsiteX18" fmla="*/ 5936821 w 6032281"/>
                  <a:gd name="connsiteY18" fmla="*/ 1237577 h 2253269"/>
                  <a:gd name="connsiteX19" fmla="*/ 5921749 w 6032281"/>
                  <a:gd name="connsiteY19" fmla="*/ 1267722 h 2253269"/>
                  <a:gd name="connsiteX20" fmla="*/ 5961942 w 6032281"/>
                  <a:gd name="connsiteY20" fmla="*/ 1317964 h 2253269"/>
                  <a:gd name="connsiteX21" fmla="*/ 5992087 w 6032281"/>
                  <a:gd name="connsiteY21" fmla="*/ 1378254 h 2253269"/>
                  <a:gd name="connsiteX22" fmla="*/ 5992087 w 6032281"/>
                  <a:gd name="connsiteY22" fmla="*/ 1453617 h 2253269"/>
                  <a:gd name="connsiteX23" fmla="*/ 6027256 w 6032281"/>
                  <a:gd name="connsiteY23" fmla="*/ 1513907 h 2253269"/>
                  <a:gd name="connsiteX24" fmla="*/ 6017208 w 6032281"/>
                  <a:gd name="connsiteY24" fmla="*/ 1624439 h 2253269"/>
                  <a:gd name="connsiteX25" fmla="*/ 5997111 w 6032281"/>
                  <a:gd name="connsiteY25" fmla="*/ 1704826 h 2253269"/>
                  <a:gd name="connsiteX26" fmla="*/ 6017208 w 6032281"/>
                  <a:gd name="connsiteY26" fmla="*/ 1795261 h 2253269"/>
                  <a:gd name="connsiteX27" fmla="*/ 6032281 w 6032281"/>
                  <a:gd name="connsiteY27" fmla="*/ 1830430 h 2253269"/>
                  <a:gd name="connsiteX28" fmla="*/ 5911700 w 6032281"/>
                  <a:gd name="connsiteY28" fmla="*/ 1890720 h 2253269"/>
                  <a:gd name="connsiteX29" fmla="*/ 5911700 w 6032281"/>
                  <a:gd name="connsiteY29" fmla="*/ 1890720 h 2253269"/>
                  <a:gd name="connsiteX30" fmla="*/ 5826289 w 6032281"/>
                  <a:gd name="connsiteY30" fmla="*/ 1951010 h 2253269"/>
                  <a:gd name="connsiteX31" fmla="*/ 5489670 w 6032281"/>
                  <a:gd name="connsiteY31" fmla="*/ 1956035 h 2253269"/>
                  <a:gd name="connsiteX32" fmla="*/ 5314399 w 6032281"/>
                  <a:gd name="connsiteY32" fmla="*/ 1954643 h 2253269"/>
                  <a:gd name="connsiteX33" fmla="*/ 4472143 w 6032281"/>
                  <a:gd name="connsiteY33" fmla="*/ 1935986 h 2253269"/>
                  <a:gd name="connsiteX34" fmla="*/ 1597546 w 6032281"/>
                  <a:gd name="connsiteY34" fmla="*/ 1910591 h 2253269"/>
                  <a:gd name="connsiteX35" fmla="*/ 718643 w 6032281"/>
                  <a:gd name="connsiteY35" fmla="*/ 1855551 h 2253269"/>
                  <a:gd name="connsiteX36" fmla="*/ 380083 w 6032281"/>
                  <a:gd name="connsiteY36" fmla="*/ 1855551 h 2253269"/>
                  <a:gd name="connsiteX37" fmla="*/ 229358 w 6032281"/>
                  <a:gd name="connsiteY37" fmla="*/ 1780188 h 2253269"/>
                  <a:gd name="connsiteX38" fmla="*/ 108777 w 6032281"/>
                  <a:gd name="connsiteY38" fmla="*/ 1699802 h 2253269"/>
                  <a:gd name="connsiteX39" fmla="*/ 98729 w 6032281"/>
                  <a:gd name="connsiteY39" fmla="*/ 1559125 h 2253269"/>
                  <a:gd name="connsiteX0" fmla="*/ 5235 w 5938787"/>
                  <a:gd name="connsiteY0" fmla="*/ 1545464 h 2239608"/>
                  <a:gd name="connsiteX1" fmla="*/ 23388 w 5938787"/>
                  <a:gd name="connsiteY1" fmla="*/ 216451 h 2239608"/>
                  <a:gd name="connsiteX2" fmla="*/ 106168 w 5938787"/>
                  <a:gd name="connsiteY2" fmla="*/ 2635 h 2239608"/>
                  <a:gd name="connsiteX3" fmla="*/ 2311332 w 5938787"/>
                  <a:gd name="connsiteY3" fmla="*/ 8066 h 2239608"/>
                  <a:gd name="connsiteX4" fmla="*/ 3034813 w 5938787"/>
                  <a:gd name="connsiteY4" fmla="*/ 63332 h 2239608"/>
                  <a:gd name="connsiteX5" fmla="*/ 3140321 w 5938787"/>
                  <a:gd name="connsiteY5" fmla="*/ 83429 h 2239608"/>
                  <a:gd name="connsiteX6" fmla="*/ 3260901 w 5938787"/>
                  <a:gd name="connsiteY6" fmla="*/ 103525 h 2239608"/>
                  <a:gd name="connsiteX7" fmla="*/ 3547279 w 5938787"/>
                  <a:gd name="connsiteY7" fmla="*/ 188936 h 2239608"/>
                  <a:gd name="connsiteX8" fmla="*/ 3803512 w 5938787"/>
                  <a:gd name="connsiteY8" fmla="*/ 324589 h 2239608"/>
                  <a:gd name="connsiteX9" fmla="*/ 4215494 w 5938787"/>
                  <a:gd name="connsiteY9" fmla="*/ 550677 h 2239608"/>
                  <a:gd name="connsiteX10" fmla="*/ 4346123 w 5938787"/>
                  <a:gd name="connsiteY10" fmla="*/ 631064 h 2239608"/>
                  <a:gd name="connsiteX11" fmla="*/ 4386316 w 5938787"/>
                  <a:gd name="connsiteY11" fmla="*/ 661209 h 2239608"/>
                  <a:gd name="connsiteX12" fmla="*/ 4758105 w 5938787"/>
                  <a:gd name="connsiteY12" fmla="*/ 691354 h 2239608"/>
                  <a:gd name="connsiteX13" fmla="*/ 5170088 w 5938787"/>
                  <a:gd name="connsiteY13" fmla="*/ 766716 h 2239608"/>
                  <a:gd name="connsiteX14" fmla="*/ 5446417 w 5938787"/>
                  <a:gd name="connsiteY14" fmla="*/ 832031 h 2239608"/>
                  <a:gd name="connsiteX15" fmla="*/ 5617239 w 5938787"/>
                  <a:gd name="connsiteY15" fmla="*/ 907393 h 2239608"/>
                  <a:gd name="connsiteX16" fmla="*/ 5813182 w 5938787"/>
                  <a:gd name="connsiteY16" fmla="*/ 1053094 h 2239608"/>
                  <a:gd name="connsiteX17" fmla="*/ 5828255 w 5938787"/>
                  <a:gd name="connsiteY17" fmla="*/ 1123433 h 2239608"/>
                  <a:gd name="connsiteX18" fmla="*/ 5843327 w 5938787"/>
                  <a:gd name="connsiteY18" fmla="*/ 1223916 h 2239608"/>
                  <a:gd name="connsiteX19" fmla="*/ 5828255 w 5938787"/>
                  <a:gd name="connsiteY19" fmla="*/ 1254061 h 2239608"/>
                  <a:gd name="connsiteX20" fmla="*/ 5868448 w 5938787"/>
                  <a:gd name="connsiteY20" fmla="*/ 1304303 h 2239608"/>
                  <a:gd name="connsiteX21" fmla="*/ 5898593 w 5938787"/>
                  <a:gd name="connsiteY21" fmla="*/ 1364593 h 2239608"/>
                  <a:gd name="connsiteX22" fmla="*/ 5898593 w 5938787"/>
                  <a:gd name="connsiteY22" fmla="*/ 1439956 h 2239608"/>
                  <a:gd name="connsiteX23" fmla="*/ 5933762 w 5938787"/>
                  <a:gd name="connsiteY23" fmla="*/ 1500246 h 2239608"/>
                  <a:gd name="connsiteX24" fmla="*/ 5923714 w 5938787"/>
                  <a:gd name="connsiteY24" fmla="*/ 1610778 h 2239608"/>
                  <a:gd name="connsiteX25" fmla="*/ 5903617 w 5938787"/>
                  <a:gd name="connsiteY25" fmla="*/ 1691165 h 2239608"/>
                  <a:gd name="connsiteX26" fmla="*/ 5923714 w 5938787"/>
                  <a:gd name="connsiteY26" fmla="*/ 1781600 h 2239608"/>
                  <a:gd name="connsiteX27" fmla="*/ 5938787 w 5938787"/>
                  <a:gd name="connsiteY27" fmla="*/ 1816769 h 2239608"/>
                  <a:gd name="connsiteX28" fmla="*/ 5818206 w 5938787"/>
                  <a:gd name="connsiteY28" fmla="*/ 1877059 h 2239608"/>
                  <a:gd name="connsiteX29" fmla="*/ 5818206 w 5938787"/>
                  <a:gd name="connsiteY29" fmla="*/ 1877059 h 2239608"/>
                  <a:gd name="connsiteX30" fmla="*/ 5732795 w 5938787"/>
                  <a:gd name="connsiteY30" fmla="*/ 1937349 h 2239608"/>
                  <a:gd name="connsiteX31" fmla="*/ 5396176 w 5938787"/>
                  <a:gd name="connsiteY31" fmla="*/ 1942374 h 2239608"/>
                  <a:gd name="connsiteX32" fmla="*/ 5220905 w 5938787"/>
                  <a:gd name="connsiteY32" fmla="*/ 1940982 h 2239608"/>
                  <a:gd name="connsiteX33" fmla="*/ 4378649 w 5938787"/>
                  <a:gd name="connsiteY33" fmla="*/ 1922325 h 2239608"/>
                  <a:gd name="connsiteX34" fmla="*/ 1504052 w 5938787"/>
                  <a:gd name="connsiteY34" fmla="*/ 1896930 h 2239608"/>
                  <a:gd name="connsiteX35" fmla="*/ 625149 w 5938787"/>
                  <a:gd name="connsiteY35" fmla="*/ 1841890 h 2239608"/>
                  <a:gd name="connsiteX36" fmla="*/ 286589 w 5938787"/>
                  <a:gd name="connsiteY36" fmla="*/ 1841890 h 2239608"/>
                  <a:gd name="connsiteX37" fmla="*/ 135864 w 5938787"/>
                  <a:gd name="connsiteY37" fmla="*/ 1766527 h 2239608"/>
                  <a:gd name="connsiteX38" fmla="*/ 15283 w 5938787"/>
                  <a:gd name="connsiteY38" fmla="*/ 1686141 h 2239608"/>
                  <a:gd name="connsiteX39" fmla="*/ 5235 w 5938787"/>
                  <a:gd name="connsiteY39" fmla="*/ 1545464 h 2239608"/>
                  <a:gd name="connsiteX0" fmla="*/ -1 w 5933551"/>
                  <a:gd name="connsiteY0" fmla="*/ 1545464 h 2239608"/>
                  <a:gd name="connsiteX1" fmla="*/ 18152 w 5933551"/>
                  <a:gd name="connsiteY1" fmla="*/ 216451 h 2239608"/>
                  <a:gd name="connsiteX2" fmla="*/ 363302 w 5933551"/>
                  <a:gd name="connsiteY2" fmla="*/ 2635 h 2239608"/>
                  <a:gd name="connsiteX3" fmla="*/ 2306096 w 5933551"/>
                  <a:gd name="connsiteY3" fmla="*/ 8066 h 2239608"/>
                  <a:gd name="connsiteX4" fmla="*/ 3029577 w 5933551"/>
                  <a:gd name="connsiteY4" fmla="*/ 63332 h 2239608"/>
                  <a:gd name="connsiteX5" fmla="*/ 3135085 w 5933551"/>
                  <a:gd name="connsiteY5" fmla="*/ 83429 h 2239608"/>
                  <a:gd name="connsiteX6" fmla="*/ 3255665 w 5933551"/>
                  <a:gd name="connsiteY6" fmla="*/ 103525 h 2239608"/>
                  <a:gd name="connsiteX7" fmla="*/ 3542043 w 5933551"/>
                  <a:gd name="connsiteY7" fmla="*/ 188936 h 2239608"/>
                  <a:gd name="connsiteX8" fmla="*/ 3798276 w 5933551"/>
                  <a:gd name="connsiteY8" fmla="*/ 324589 h 2239608"/>
                  <a:gd name="connsiteX9" fmla="*/ 4210258 w 5933551"/>
                  <a:gd name="connsiteY9" fmla="*/ 550677 h 2239608"/>
                  <a:gd name="connsiteX10" fmla="*/ 4340887 w 5933551"/>
                  <a:gd name="connsiteY10" fmla="*/ 631064 h 2239608"/>
                  <a:gd name="connsiteX11" fmla="*/ 4381080 w 5933551"/>
                  <a:gd name="connsiteY11" fmla="*/ 661209 h 2239608"/>
                  <a:gd name="connsiteX12" fmla="*/ 4752869 w 5933551"/>
                  <a:gd name="connsiteY12" fmla="*/ 691354 h 2239608"/>
                  <a:gd name="connsiteX13" fmla="*/ 5164852 w 5933551"/>
                  <a:gd name="connsiteY13" fmla="*/ 766716 h 2239608"/>
                  <a:gd name="connsiteX14" fmla="*/ 5441181 w 5933551"/>
                  <a:gd name="connsiteY14" fmla="*/ 832031 h 2239608"/>
                  <a:gd name="connsiteX15" fmla="*/ 5612003 w 5933551"/>
                  <a:gd name="connsiteY15" fmla="*/ 907393 h 2239608"/>
                  <a:gd name="connsiteX16" fmla="*/ 5807946 w 5933551"/>
                  <a:gd name="connsiteY16" fmla="*/ 1053094 h 2239608"/>
                  <a:gd name="connsiteX17" fmla="*/ 5823019 w 5933551"/>
                  <a:gd name="connsiteY17" fmla="*/ 1123433 h 2239608"/>
                  <a:gd name="connsiteX18" fmla="*/ 5838091 w 5933551"/>
                  <a:gd name="connsiteY18" fmla="*/ 1223916 h 2239608"/>
                  <a:gd name="connsiteX19" fmla="*/ 5823019 w 5933551"/>
                  <a:gd name="connsiteY19" fmla="*/ 1254061 h 2239608"/>
                  <a:gd name="connsiteX20" fmla="*/ 5863212 w 5933551"/>
                  <a:gd name="connsiteY20" fmla="*/ 1304303 h 2239608"/>
                  <a:gd name="connsiteX21" fmla="*/ 5893357 w 5933551"/>
                  <a:gd name="connsiteY21" fmla="*/ 1364593 h 2239608"/>
                  <a:gd name="connsiteX22" fmla="*/ 5893357 w 5933551"/>
                  <a:gd name="connsiteY22" fmla="*/ 1439956 h 2239608"/>
                  <a:gd name="connsiteX23" fmla="*/ 5928526 w 5933551"/>
                  <a:gd name="connsiteY23" fmla="*/ 1500246 h 2239608"/>
                  <a:gd name="connsiteX24" fmla="*/ 5918478 w 5933551"/>
                  <a:gd name="connsiteY24" fmla="*/ 1610778 h 2239608"/>
                  <a:gd name="connsiteX25" fmla="*/ 5898381 w 5933551"/>
                  <a:gd name="connsiteY25" fmla="*/ 1691165 h 2239608"/>
                  <a:gd name="connsiteX26" fmla="*/ 5918478 w 5933551"/>
                  <a:gd name="connsiteY26" fmla="*/ 1781600 h 2239608"/>
                  <a:gd name="connsiteX27" fmla="*/ 5933551 w 5933551"/>
                  <a:gd name="connsiteY27" fmla="*/ 1816769 h 2239608"/>
                  <a:gd name="connsiteX28" fmla="*/ 5812970 w 5933551"/>
                  <a:gd name="connsiteY28" fmla="*/ 1877059 h 2239608"/>
                  <a:gd name="connsiteX29" fmla="*/ 5812970 w 5933551"/>
                  <a:gd name="connsiteY29" fmla="*/ 1877059 h 2239608"/>
                  <a:gd name="connsiteX30" fmla="*/ 5727559 w 5933551"/>
                  <a:gd name="connsiteY30" fmla="*/ 1937349 h 2239608"/>
                  <a:gd name="connsiteX31" fmla="*/ 5390940 w 5933551"/>
                  <a:gd name="connsiteY31" fmla="*/ 1942374 h 2239608"/>
                  <a:gd name="connsiteX32" fmla="*/ 5215669 w 5933551"/>
                  <a:gd name="connsiteY32" fmla="*/ 1940982 h 2239608"/>
                  <a:gd name="connsiteX33" fmla="*/ 4373413 w 5933551"/>
                  <a:gd name="connsiteY33" fmla="*/ 1922325 h 2239608"/>
                  <a:gd name="connsiteX34" fmla="*/ 1498816 w 5933551"/>
                  <a:gd name="connsiteY34" fmla="*/ 1896930 h 2239608"/>
                  <a:gd name="connsiteX35" fmla="*/ 619913 w 5933551"/>
                  <a:gd name="connsiteY35" fmla="*/ 1841890 h 2239608"/>
                  <a:gd name="connsiteX36" fmla="*/ 281353 w 5933551"/>
                  <a:gd name="connsiteY36" fmla="*/ 1841890 h 2239608"/>
                  <a:gd name="connsiteX37" fmla="*/ 130628 w 5933551"/>
                  <a:gd name="connsiteY37" fmla="*/ 1766527 h 2239608"/>
                  <a:gd name="connsiteX38" fmla="*/ 10047 w 5933551"/>
                  <a:gd name="connsiteY38" fmla="*/ 1686141 h 2239608"/>
                  <a:gd name="connsiteX39" fmla="*/ -1 w 5933551"/>
                  <a:gd name="connsiteY39" fmla="*/ 1545464 h 2239608"/>
                  <a:gd name="connsiteX0" fmla="*/ 1 w 5933553"/>
                  <a:gd name="connsiteY0" fmla="*/ 1542922 h 2237066"/>
                  <a:gd name="connsiteX1" fmla="*/ 18154 w 5933553"/>
                  <a:gd name="connsiteY1" fmla="*/ 213909 h 2237066"/>
                  <a:gd name="connsiteX2" fmla="*/ 363304 w 5933553"/>
                  <a:gd name="connsiteY2" fmla="*/ 93 h 2237066"/>
                  <a:gd name="connsiteX3" fmla="*/ 2306098 w 5933553"/>
                  <a:gd name="connsiteY3" fmla="*/ 5524 h 2237066"/>
                  <a:gd name="connsiteX4" fmla="*/ 3029579 w 5933553"/>
                  <a:gd name="connsiteY4" fmla="*/ 60790 h 2237066"/>
                  <a:gd name="connsiteX5" fmla="*/ 3135087 w 5933553"/>
                  <a:gd name="connsiteY5" fmla="*/ 80887 h 2237066"/>
                  <a:gd name="connsiteX6" fmla="*/ 3255667 w 5933553"/>
                  <a:gd name="connsiteY6" fmla="*/ 100983 h 2237066"/>
                  <a:gd name="connsiteX7" fmla="*/ 3542045 w 5933553"/>
                  <a:gd name="connsiteY7" fmla="*/ 186394 h 2237066"/>
                  <a:gd name="connsiteX8" fmla="*/ 3798278 w 5933553"/>
                  <a:gd name="connsiteY8" fmla="*/ 322047 h 2237066"/>
                  <a:gd name="connsiteX9" fmla="*/ 4210260 w 5933553"/>
                  <a:gd name="connsiteY9" fmla="*/ 548135 h 2237066"/>
                  <a:gd name="connsiteX10" fmla="*/ 4340889 w 5933553"/>
                  <a:gd name="connsiteY10" fmla="*/ 628522 h 2237066"/>
                  <a:gd name="connsiteX11" fmla="*/ 4381082 w 5933553"/>
                  <a:gd name="connsiteY11" fmla="*/ 658667 h 2237066"/>
                  <a:gd name="connsiteX12" fmla="*/ 4752871 w 5933553"/>
                  <a:gd name="connsiteY12" fmla="*/ 688812 h 2237066"/>
                  <a:gd name="connsiteX13" fmla="*/ 5164854 w 5933553"/>
                  <a:gd name="connsiteY13" fmla="*/ 764174 h 2237066"/>
                  <a:gd name="connsiteX14" fmla="*/ 5441183 w 5933553"/>
                  <a:gd name="connsiteY14" fmla="*/ 829489 h 2237066"/>
                  <a:gd name="connsiteX15" fmla="*/ 5612005 w 5933553"/>
                  <a:gd name="connsiteY15" fmla="*/ 904851 h 2237066"/>
                  <a:gd name="connsiteX16" fmla="*/ 5807948 w 5933553"/>
                  <a:gd name="connsiteY16" fmla="*/ 1050552 h 2237066"/>
                  <a:gd name="connsiteX17" fmla="*/ 5823021 w 5933553"/>
                  <a:gd name="connsiteY17" fmla="*/ 1120891 h 2237066"/>
                  <a:gd name="connsiteX18" fmla="*/ 5838093 w 5933553"/>
                  <a:gd name="connsiteY18" fmla="*/ 1221374 h 2237066"/>
                  <a:gd name="connsiteX19" fmla="*/ 5823021 w 5933553"/>
                  <a:gd name="connsiteY19" fmla="*/ 1251519 h 2237066"/>
                  <a:gd name="connsiteX20" fmla="*/ 5863214 w 5933553"/>
                  <a:gd name="connsiteY20" fmla="*/ 1301761 h 2237066"/>
                  <a:gd name="connsiteX21" fmla="*/ 5893359 w 5933553"/>
                  <a:gd name="connsiteY21" fmla="*/ 1362051 h 2237066"/>
                  <a:gd name="connsiteX22" fmla="*/ 5893359 w 5933553"/>
                  <a:gd name="connsiteY22" fmla="*/ 1437414 h 2237066"/>
                  <a:gd name="connsiteX23" fmla="*/ 5928528 w 5933553"/>
                  <a:gd name="connsiteY23" fmla="*/ 1497704 h 2237066"/>
                  <a:gd name="connsiteX24" fmla="*/ 5918480 w 5933553"/>
                  <a:gd name="connsiteY24" fmla="*/ 1608236 h 2237066"/>
                  <a:gd name="connsiteX25" fmla="*/ 5898383 w 5933553"/>
                  <a:gd name="connsiteY25" fmla="*/ 1688623 h 2237066"/>
                  <a:gd name="connsiteX26" fmla="*/ 5918480 w 5933553"/>
                  <a:gd name="connsiteY26" fmla="*/ 1779058 h 2237066"/>
                  <a:gd name="connsiteX27" fmla="*/ 5933553 w 5933553"/>
                  <a:gd name="connsiteY27" fmla="*/ 1814227 h 2237066"/>
                  <a:gd name="connsiteX28" fmla="*/ 5812972 w 5933553"/>
                  <a:gd name="connsiteY28" fmla="*/ 1874517 h 2237066"/>
                  <a:gd name="connsiteX29" fmla="*/ 5812972 w 5933553"/>
                  <a:gd name="connsiteY29" fmla="*/ 1874517 h 2237066"/>
                  <a:gd name="connsiteX30" fmla="*/ 5727561 w 5933553"/>
                  <a:gd name="connsiteY30" fmla="*/ 1934807 h 2237066"/>
                  <a:gd name="connsiteX31" fmla="*/ 5390942 w 5933553"/>
                  <a:gd name="connsiteY31" fmla="*/ 1939832 h 2237066"/>
                  <a:gd name="connsiteX32" fmla="*/ 5215671 w 5933553"/>
                  <a:gd name="connsiteY32" fmla="*/ 1938440 h 2237066"/>
                  <a:gd name="connsiteX33" fmla="*/ 4373415 w 5933553"/>
                  <a:gd name="connsiteY33" fmla="*/ 1919783 h 2237066"/>
                  <a:gd name="connsiteX34" fmla="*/ 1498818 w 5933553"/>
                  <a:gd name="connsiteY34" fmla="*/ 1894388 h 2237066"/>
                  <a:gd name="connsiteX35" fmla="*/ 619915 w 5933553"/>
                  <a:gd name="connsiteY35" fmla="*/ 1839348 h 2237066"/>
                  <a:gd name="connsiteX36" fmla="*/ 281355 w 5933553"/>
                  <a:gd name="connsiteY36" fmla="*/ 1839348 h 2237066"/>
                  <a:gd name="connsiteX37" fmla="*/ 130630 w 5933553"/>
                  <a:gd name="connsiteY37" fmla="*/ 1763985 h 2237066"/>
                  <a:gd name="connsiteX38" fmla="*/ 10049 w 5933553"/>
                  <a:gd name="connsiteY38" fmla="*/ 1683599 h 2237066"/>
                  <a:gd name="connsiteX39" fmla="*/ 1 w 5933553"/>
                  <a:gd name="connsiteY39" fmla="*/ 1542922 h 2237066"/>
                  <a:gd name="connsiteX0" fmla="*/ 4804 w 5938356"/>
                  <a:gd name="connsiteY0" fmla="*/ 1567620 h 2261764"/>
                  <a:gd name="connsiteX1" fmla="*/ 7054 w 5938356"/>
                  <a:gd name="connsiteY1" fmla="*/ 377923 h 2261764"/>
                  <a:gd name="connsiteX2" fmla="*/ 368107 w 5938356"/>
                  <a:gd name="connsiteY2" fmla="*/ 24791 h 2261764"/>
                  <a:gd name="connsiteX3" fmla="*/ 2310901 w 5938356"/>
                  <a:gd name="connsiteY3" fmla="*/ 30222 h 2261764"/>
                  <a:gd name="connsiteX4" fmla="*/ 3034382 w 5938356"/>
                  <a:gd name="connsiteY4" fmla="*/ 85488 h 2261764"/>
                  <a:gd name="connsiteX5" fmla="*/ 3139890 w 5938356"/>
                  <a:gd name="connsiteY5" fmla="*/ 105585 h 2261764"/>
                  <a:gd name="connsiteX6" fmla="*/ 3260470 w 5938356"/>
                  <a:gd name="connsiteY6" fmla="*/ 125681 h 2261764"/>
                  <a:gd name="connsiteX7" fmla="*/ 3546848 w 5938356"/>
                  <a:gd name="connsiteY7" fmla="*/ 211092 h 2261764"/>
                  <a:gd name="connsiteX8" fmla="*/ 3803081 w 5938356"/>
                  <a:gd name="connsiteY8" fmla="*/ 346745 h 2261764"/>
                  <a:gd name="connsiteX9" fmla="*/ 4215063 w 5938356"/>
                  <a:gd name="connsiteY9" fmla="*/ 572833 h 2261764"/>
                  <a:gd name="connsiteX10" fmla="*/ 4345692 w 5938356"/>
                  <a:gd name="connsiteY10" fmla="*/ 653220 h 2261764"/>
                  <a:gd name="connsiteX11" fmla="*/ 4385885 w 5938356"/>
                  <a:gd name="connsiteY11" fmla="*/ 683365 h 2261764"/>
                  <a:gd name="connsiteX12" fmla="*/ 4757674 w 5938356"/>
                  <a:gd name="connsiteY12" fmla="*/ 713510 h 2261764"/>
                  <a:gd name="connsiteX13" fmla="*/ 5169657 w 5938356"/>
                  <a:gd name="connsiteY13" fmla="*/ 788872 h 2261764"/>
                  <a:gd name="connsiteX14" fmla="*/ 5445986 w 5938356"/>
                  <a:gd name="connsiteY14" fmla="*/ 854187 h 2261764"/>
                  <a:gd name="connsiteX15" fmla="*/ 5616808 w 5938356"/>
                  <a:gd name="connsiteY15" fmla="*/ 929549 h 2261764"/>
                  <a:gd name="connsiteX16" fmla="*/ 5812751 w 5938356"/>
                  <a:gd name="connsiteY16" fmla="*/ 1075250 h 2261764"/>
                  <a:gd name="connsiteX17" fmla="*/ 5827824 w 5938356"/>
                  <a:gd name="connsiteY17" fmla="*/ 1145589 h 2261764"/>
                  <a:gd name="connsiteX18" fmla="*/ 5842896 w 5938356"/>
                  <a:gd name="connsiteY18" fmla="*/ 1246072 h 2261764"/>
                  <a:gd name="connsiteX19" fmla="*/ 5827824 w 5938356"/>
                  <a:gd name="connsiteY19" fmla="*/ 1276217 h 2261764"/>
                  <a:gd name="connsiteX20" fmla="*/ 5868017 w 5938356"/>
                  <a:gd name="connsiteY20" fmla="*/ 1326459 h 2261764"/>
                  <a:gd name="connsiteX21" fmla="*/ 5898162 w 5938356"/>
                  <a:gd name="connsiteY21" fmla="*/ 1386749 h 2261764"/>
                  <a:gd name="connsiteX22" fmla="*/ 5898162 w 5938356"/>
                  <a:gd name="connsiteY22" fmla="*/ 1462112 h 2261764"/>
                  <a:gd name="connsiteX23" fmla="*/ 5933331 w 5938356"/>
                  <a:gd name="connsiteY23" fmla="*/ 1522402 h 2261764"/>
                  <a:gd name="connsiteX24" fmla="*/ 5923283 w 5938356"/>
                  <a:gd name="connsiteY24" fmla="*/ 1632934 h 2261764"/>
                  <a:gd name="connsiteX25" fmla="*/ 5903186 w 5938356"/>
                  <a:gd name="connsiteY25" fmla="*/ 1713321 h 2261764"/>
                  <a:gd name="connsiteX26" fmla="*/ 5923283 w 5938356"/>
                  <a:gd name="connsiteY26" fmla="*/ 1803756 h 2261764"/>
                  <a:gd name="connsiteX27" fmla="*/ 5938356 w 5938356"/>
                  <a:gd name="connsiteY27" fmla="*/ 1838925 h 2261764"/>
                  <a:gd name="connsiteX28" fmla="*/ 5817775 w 5938356"/>
                  <a:gd name="connsiteY28" fmla="*/ 1899215 h 2261764"/>
                  <a:gd name="connsiteX29" fmla="*/ 5817775 w 5938356"/>
                  <a:gd name="connsiteY29" fmla="*/ 1899215 h 2261764"/>
                  <a:gd name="connsiteX30" fmla="*/ 5732364 w 5938356"/>
                  <a:gd name="connsiteY30" fmla="*/ 1959505 h 2261764"/>
                  <a:gd name="connsiteX31" fmla="*/ 5395745 w 5938356"/>
                  <a:gd name="connsiteY31" fmla="*/ 1964530 h 2261764"/>
                  <a:gd name="connsiteX32" fmla="*/ 5220474 w 5938356"/>
                  <a:gd name="connsiteY32" fmla="*/ 1963138 h 2261764"/>
                  <a:gd name="connsiteX33" fmla="*/ 4378218 w 5938356"/>
                  <a:gd name="connsiteY33" fmla="*/ 1944481 h 2261764"/>
                  <a:gd name="connsiteX34" fmla="*/ 1503621 w 5938356"/>
                  <a:gd name="connsiteY34" fmla="*/ 1919086 h 2261764"/>
                  <a:gd name="connsiteX35" fmla="*/ 624718 w 5938356"/>
                  <a:gd name="connsiteY35" fmla="*/ 1864046 h 2261764"/>
                  <a:gd name="connsiteX36" fmla="*/ 286158 w 5938356"/>
                  <a:gd name="connsiteY36" fmla="*/ 1864046 h 2261764"/>
                  <a:gd name="connsiteX37" fmla="*/ 135433 w 5938356"/>
                  <a:gd name="connsiteY37" fmla="*/ 1788683 h 2261764"/>
                  <a:gd name="connsiteX38" fmla="*/ 14852 w 5938356"/>
                  <a:gd name="connsiteY38" fmla="*/ 1708297 h 2261764"/>
                  <a:gd name="connsiteX39" fmla="*/ 4804 w 5938356"/>
                  <a:gd name="connsiteY39" fmla="*/ 1567620 h 2261764"/>
                  <a:gd name="connsiteX0" fmla="*/ 1 w 5933553"/>
                  <a:gd name="connsiteY0" fmla="*/ 1567620 h 2261764"/>
                  <a:gd name="connsiteX1" fmla="*/ 2251 w 5933553"/>
                  <a:gd name="connsiteY1" fmla="*/ 377923 h 2261764"/>
                  <a:gd name="connsiteX2" fmla="*/ 363304 w 5933553"/>
                  <a:gd name="connsiteY2" fmla="*/ 24791 h 2261764"/>
                  <a:gd name="connsiteX3" fmla="*/ 2306098 w 5933553"/>
                  <a:gd name="connsiteY3" fmla="*/ 30222 h 2261764"/>
                  <a:gd name="connsiteX4" fmla="*/ 3029579 w 5933553"/>
                  <a:gd name="connsiteY4" fmla="*/ 85488 h 2261764"/>
                  <a:gd name="connsiteX5" fmla="*/ 3135087 w 5933553"/>
                  <a:gd name="connsiteY5" fmla="*/ 105585 h 2261764"/>
                  <a:gd name="connsiteX6" fmla="*/ 3255667 w 5933553"/>
                  <a:gd name="connsiteY6" fmla="*/ 125681 h 2261764"/>
                  <a:gd name="connsiteX7" fmla="*/ 3542045 w 5933553"/>
                  <a:gd name="connsiteY7" fmla="*/ 211092 h 2261764"/>
                  <a:gd name="connsiteX8" fmla="*/ 3798278 w 5933553"/>
                  <a:gd name="connsiteY8" fmla="*/ 346745 h 2261764"/>
                  <a:gd name="connsiteX9" fmla="*/ 4210260 w 5933553"/>
                  <a:gd name="connsiteY9" fmla="*/ 572833 h 2261764"/>
                  <a:gd name="connsiteX10" fmla="*/ 4340889 w 5933553"/>
                  <a:gd name="connsiteY10" fmla="*/ 653220 h 2261764"/>
                  <a:gd name="connsiteX11" fmla="*/ 4381082 w 5933553"/>
                  <a:gd name="connsiteY11" fmla="*/ 683365 h 2261764"/>
                  <a:gd name="connsiteX12" fmla="*/ 4752871 w 5933553"/>
                  <a:gd name="connsiteY12" fmla="*/ 713510 h 2261764"/>
                  <a:gd name="connsiteX13" fmla="*/ 5164854 w 5933553"/>
                  <a:gd name="connsiteY13" fmla="*/ 788872 h 2261764"/>
                  <a:gd name="connsiteX14" fmla="*/ 5441183 w 5933553"/>
                  <a:gd name="connsiteY14" fmla="*/ 854187 h 2261764"/>
                  <a:gd name="connsiteX15" fmla="*/ 5612005 w 5933553"/>
                  <a:gd name="connsiteY15" fmla="*/ 929549 h 2261764"/>
                  <a:gd name="connsiteX16" fmla="*/ 5807948 w 5933553"/>
                  <a:gd name="connsiteY16" fmla="*/ 1075250 h 2261764"/>
                  <a:gd name="connsiteX17" fmla="*/ 5823021 w 5933553"/>
                  <a:gd name="connsiteY17" fmla="*/ 1145589 h 2261764"/>
                  <a:gd name="connsiteX18" fmla="*/ 5838093 w 5933553"/>
                  <a:gd name="connsiteY18" fmla="*/ 1246072 h 2261764"/>
                  <a:gd name="connsiteX19" fmla="*/ 5823021 w 5933553"/>
                  <a:gd name="connsiteY19" fmla="*/ 1276217 h 2261764"/>
                  <a:gd name="connsiteX20" fmla="*/ 5863214 w 5933553"/>
                  <a:gd name="connsiteY20" fmla="*/ 1326459 h 2261764"/>
                  <a:gd name="connsiteX21" fmla="*/ 5893359 w 5933553"/>
                  <a:gd name="connsiteY21" fmla="*/ 1386749 h 2261764"/>
                  <a:gd name="connsiteX22" fmla="*/ 5893359 w 5933553"/>
                  <a:gd name="connsiteY22" fmla="*/ 1462112 h 2261764"/>
                  <a:gd name="connsiteX23" fmla="*/ 5928528 w 5933553"/>
                  <a:gd name="connsiteY23" fmla="*/ 1522402 h 2261764"/>
                  <a:gd name="connsiteX24" fmla="*/ 5918480 w 5933553"/>
                  <a:gd name="connsiteY24" fmla="*/ 1632934 h 2261764"/>
                  <a:gd name="connsiteX25" fmla="*/ 5898383 w 5933553"/>
                  <a:gd name="connsiteY25" fmla="*/ 1713321 h 2261764"/>
                  <a:gd name="connsiteX26" fmla="*/ 5918480 w 5933553"/>
                  <a:gd name="connsiteY26" fmla="*/ 1803756 h 2261764"/>
                  <a:gd name="connsiteX27" fmla="*/ 5933553 w 5933553"/>
                  <a:gd name="connsiteY27" fmla="*/ 1838925 h 2261764"/>
                  <a:gd name="connsiteX28" fmla="*/ 5812972 w 5933553"/>
                  <a:gd name="connsiteY28" fmla="*/ 1899215 h 2261764"/>
                  <a:gd name="connsiteX29" fmla="*/ 5812972 w 5933553"/>
                  <a:gd name="connsiteY29" fmla="*/ 1899215 h 2261764"/>
                  <a:gd name="connsiteX30" fmla="*/ 5727561 w 5933553"/>
                  <a:gd name="connsiteY30" fmla="*/ 1959505 h 2261764"/>
                  <a:gd name="connsiteX31" fmla="*/ 5390942 w 5933553"/>
                  <a:gd name="connsiteY31" fmla="*/ 1964530 h 2261764"/>
                  <a:gd name="connsiteX32" fmla="*/ 5215671 w 5933553"/>
                  <a:gd name="connsiteY32" fmla="*/ 1963138 h 2261764"/>
                  <a:gd name="connsiteX33" fmla="*/ 4373415 w 5933553"/>
                  <a:gd name="connsiteY33" fmla="*/ 1944481 h 2261764"/>
                  <a:gd name="connsiteX34" fmla="*/ 1498818 w 5933553"/>
                  <a:gd name="connsiteY34" fmla="*/ 1919086 h 2261764"/>
                  <a:gd name="connsiteX35" fmla="*/ 619915 w 5933553"/>
                  <a:gd name="connsiteY35" fmla="*/ 1864046 h 2261764"/>
                  <a:gd name="connsiteX36" fmla="*/ 281355 w 5933553"/>
                  <a:gd name="connsiteY36" fmla="*/ 1864046 h 2261764"/>
                  <a:gd name="connsiteX37" fmla="*/ 130630 w 5933553"/>
                  <a:gd name="connsiteY37" fmla="*/ 1788683 h 2261764"/>
                  <a:gd name="connsiteX38" fmla="*/ 10049 w 5933553"/>
                  <a:gd name="connsiteY38" fmla="*/ 1708297 h 2261764"/>
                  <a:gd name="connsiteX39" fmla="*/ 1 w 5933553"/>
                  <a:gd name="connsiteY39" fmla="*/ 1567620 h 2261764"/>
                  <a:gd name="connsiteX0" fmla="*/ -1 w 5933551"/>
                  <a:gd name="connsiteY0" fmla="*/ 1567620 h 2261764"/>
                  <a:gd name="connsiteX1" fmla="*/ 2249 w 5933551"/>
                  <a:gd name="connsiteY1" fmla="*/ 377923 h 2261764"/>
                  <a:gd name="connsiteX2" fmla="*/ 363302 w 5933551"/>
                  <a:gd name="connsiteY2" fmla="*/ 24791 h 2261764"/>
                  <a:gd name="connsiteX3" fmla="*/ 2306096 w 5933551"/>
                  <a:gd name="connsiteY3" fmla="*/ 30222 h 2261764"/>
                  <a:gd name="connsiteX4" fmla="*/ 3029577 w 5933551"/>
                  <a:gd name="connsiteY4" fmla="*/ 85488 h 2261764"/>
                  <a:gd name="connsiteX5" fmla="*/ 3135085 w 5933551"/>
                  <a:gd name="connsiteY5" fmla="*/ 105585 h 2261764"/>
                  <a:gd name="connsiteX6" fmla="*/ 3255665 w 5933551"/>
                  <a:gd name="connsiteY6" fmla="*/ 125681 h 2261764"/>
                  <a:gd name="connsiteX7" fmla="*/ 3542043 w 5933551"/>
                  <a:gd name="connsiteY7" fmla="*/ 211092 h 2261764"/>
                  <a:gd name="connsiteX8" fmla="*/ 3798276 w 5933551"/>
                  <a:gd name="connsiteY8" fmla="*/ 346745 h 2261764"/>
                  <a:gd name="connsiteX9" fmla="*/ 4210258 w 5933551"/>
                  <a:gd name="connsiteY9" fmla="*/ 572833 h 2261764"/>
                  <a:gd name="connsiteX10" fmla="*/ 4340887 w 5933551"/>
                  <a:gd name="connsiteY10" fmla="*/ 653220 h 2261764"/>
                  <a:gd name="connsiteX11" fmla="*/ 4381080 w 5933551"/>
                  <a:gd name="connsiteY11" fmla="*/ 683365 h 2261764"/>
                  <a:gd name="connsiteX12" fmla="*/ 4752869 w 5933551"/>
                  <a:gd name="connsiteY12" fmla="*/ 713510 h 2261764"/>
                  <a:gd name="connsiteX13" fmla="*/ 5164852 w 5933551"/>
                  <a:gd name="connsiteY13" fmla="*/ 788872 h 2261764"/>
                  <a:gd name="connsiteX14" fmla="*/ 5441181 w 5933551"/>
                  <a:gd name="connsiteY14" fmla="*/ 854187 h 2261764"/>
                  <a:gd name="connsiteX15" fmla="*/ 5612003 w 5933551"/>
                  <a:gd name="connsiteY15" fmla="*/ 929549 h 2261764"/>
                  <a:gd name="connsiteX16" fmla="*/ 5807946 w 5933551"/>
                  <a:gd name="connsiteY16" fmla="*/ 1075250 h 2261764"/>
                  <a:gd name="connsiteX17" fmla="*/ 5823019 w 5933551"/>
                  <a:gd name="connsiteY17" fmla="*/ 1145589 h 2261764"/>
                  <a:gd name="connsiteX18" fmla="*/ 5838091 w 5933551"/>
                  <a:gd name="connsiteY18" fmla="*/ 1246072 h 2261764"/>
                  <a:gd name="connsiteX19" fmla="*/ 5823019 w 5933551"/>
                  <a:gd name="connsiteY19" fmla="*/ 1276217 h 2261764"/>
                  <a:gd name="connsiteX20" fmla="*/ 5863212 w 5933551"/>
                  <a:gd name="connsiteY20" fmla="*/ 1326459 h 2261764"/>
                  <a:gd name="connsiteX21" fmla="*/ 5893357 w 5933551"/>
                  <a:gd name="connsiteY21" fmla="*/ 1386749 h 2261764"/>
                  <a:gd name="connsiteX22" fmla="*/ 5893357 w 5933551"/>
                  <a:gd name="connsiteY22" fmla="*/ 1462112 h 2261764"/>
                  <a:gd name="connsiteX23" fmla="*/ 5928526 w 5933551"/>
                  <a:gd name="connsiteY23" fmla="*/ 1522402 h 2261764"/>
                  <a:gd name="connsiteX24" fmla="*/ 5918478 w 5933551"/>
                  <a:gd name="connsiteY24" fmla="*/ 1632934 h 2261764"/>
                  <a:gd name="connsiteX25" fmla="*/ 5898381 w 5933551"/>
                  <a:gd name="connsiteY25" fmla="*/ 1713321 h 2261764"/>
                  <a:gd name="connsiteX26" fmla="*/ 5918478 w 5933551"/>
                  <a:gd name="connsiteY26" fmla="*/ 1803756 h 2261764"/>
                  <a:gd name="connsiteX27" fmla="*/ 5933551 w 5933551"/>
                  <a:gd name="connsiteY27" fmla="*/ 1838925 h 2261764"/>
                  <a:gd name="connsiteX28" fmla="*/ 5812970 w 5933551"/>
                  <a:gd name="connsiteY28" fmla="*/ 1899215 h 2261764"/>
                  <a:gd name="connsiteX29" fmla="*/ 5812970 w 5933551"/>
                  <a:gd name="connsiteY29" fmla="*/ 1899215 h 2261764"/>
                  <a:gd name="connsiteX30" fmla="*/ 5727559 w 5933551"/>
                  <a:gd name="connsiteY30" fmla="*/ 1959505 h 2261764"/>
                  <a:gd name="connsiteX31" fmla="*/ 5390940 w 5933551"/>
                  <a:gd name="connsiteY31" fmla="*/ 1964530 h 2261764"/>
                  <a:gd name="connsiteX32" fmla="*/ 5215669 w 5933551"/>
                  <a:gd name="connsiteY32" fmla="*/ 1963138 h 2261764"/>
                  <a:gd name="connsiteX33" fmla="*/ 4373413 w 5933551"/>
                  <a:gd name="connsiteY33" fmla="*/ 1944481 h 2261764"/>
                  <a:gd name="connsiteX34" fmla="*/ 1498816 w 5933551"/>
                  <a:gd name="connsiteY34" fmla="*/ 1919086 h 2261764"/>
                  <a:gd name="connsiteX35" fmla="*/ 619913 w 5933551"/>
                  <a:gd name="connsiteY35" fmla="*/ 1864046 h 2261764"/>
                  <a:gd name="connsiteX36" fmla="*/ 281353 w 5933551"/>
                  <a:gd name="connsiteY36" fmla="*/ 1864046 h 2261764"/>
                  <a:gd name="connsiteX37" fmla="*/ 130628 w 5933551"/>
                  <a:gd name="connsiteY37" fmla="*/ 1788683 h 2261764"/>
                  <a:gd name="connsiteX38" fmla="*/ 10047 w 5933551"/>
                  <a:gd name="connsiteY38" fmla="*/ 1708297 h 2261764"/>
                  <a:gd name="connsiteX39" fmla="*/ -1 w 5933551"/>
                  <a:gd name="connsiteY39" fmla="*/ 1567620 h 2261764"/>
                  <a:gd name="connsiteX0" fmla="*/ 1 w 5933553"/>
                  <a:gd name="connsiteY0" fmla="*/ 1548229 h 2242373"/>
                  <a:gd name="connsiteX1" fmla="*/ 2251 w 5933553"/>
                  <a:gd name="connsiteY1" fmla="*/ 358532 h 2242373"/>
                  <a:gd name="connsiteX2" fmla="*/ 411009 w 5933553"/>
                  <a:gd name="connsiteY2" fmla="*/ 36358 h 2242373"/>
                  <a:gd name="connsiteX3" fmla="*/ 2306098 w 5933553"/>
                  <a:gd name="connsiteY3" fmla="*/ 10831 h 2242373"/>
                  <a:gd name="connsiteX4" fmla="*/ 3029579 w 5933553"/>
                  <a:gd name="connsiteY4" fmla="*/ 66097 h 2242373"/>
                  <a:gd name="connsiteX5" fmla="*/ 3135087 w 5933553"/>
                  <a:gd name="connsiteY5" fmla="*/ 86194 h 2242373"/>
                  <a:gd name="connsiteX6" fmla="*/ 3255667 w 5933553"/>
                  <a:gd name="connsiteY6" fmla="*/ 106290 h 2242373"/>
                  <a:gd name="connsiteX7" fmla="*/ 3542045 w 5933553"/>
                  <a:gd name="connsiteY7" fmla="*/ 191701 h 2242373"/>
                  <a:gd name="connsiteX8" fmla="*/ 3798278 w 5933553"/>
                  <a:gd name="connsiteY8" fmla="*/ 327354 h 2242373"/>
                  <a:gd name="connsiteX9" fmla="*/ 4210260 w 5933553"/>
                  <a:gd name="connsiteY9" fmla="*/ 553442 h 2242373"/>
                  <a:gd name="connsiteX10" fmla="*/ 4340889 w 5933553"/>
                  <a:gd name="connsiteY10" fmla="*/ 633829 h 2242373"/>
                  <a:gd name="connsiteX11" fmla="*/ 4381082 w 5933553"/>
                  <a:gd name="connsiteY11" fmla="*/ 663974 h 2242373"/>
                  <a:gd name="connsiteX12" fmla="*/ 4752871 w 5933553"/>
                  <a:gd name="connsiteY12" fmla="*/ 694119 h 2242373"/>
                  <a:gd name="connsiteX13" fmla="*/ 5164854 w 5933553"/>
                  <a:gd name="connsiteY13" fmla="*/ 769481 h 2242373"/>
                  <a:gd name="connsiteX14" fmla="*/ 5441183 w 5933553"/>
                  <a:gd name="connsiteY14" fmla="*/ 834796 h 2242373"/>
                  <a:gd name="connsiteX15" fmla="*/ 5612005 w 5933553"/>
                  <a:gd name="connsiteY15" fmla="*/ 910158 h 2242373"/>
                  <a:gd name="connsiteX16" fmla="*/ 5807948 w 5933553"/>
                  <a:gd name="connsiteY16" fmla="*/ 1055859 h 2242373"/>
                  <a:gd name="connsiteX17" fmla="*/ 5823021 w 5933553"/>
                  <a:gd name="connsiteY17" fmla="*/ 1126198 h 2242373"/>
                  <a:gd name="connsiteX18" fmla="*/ 5838093 w 5933553"/>
                  <a:gd name="connsiteY18" fmla="*/ 1226681 h 2242373"/>
                  <a:gd name="connsiteX19" fmla="*/ 5823021 w 5933553"/>
                  <a:gd name="connsiteY19" fmla="*/ 1256826 h 2242373"/>
                  <a:gd name="connsiteX20" fmla="*/ 5863214 w 5933553"/>
                  <a:gd name="connsiteY20" fmla="*/ 1307068 h 2242373"/>
                  <a:gd name="connsiteX21" fmla="*/ 5893359 w 5933553"/>
                  <a:gd name="connsiteY21" fmla="*/ 1367358 h 2242373"/>
                  <a:gd name="connsiteX22" fmla="*/ 5893359 w 5933553"/>
                  <a:gd name="connsiteY22" fmla="*/ 1442721 h 2242373"/>
                  <a:gd name="connsiteX23" fmla="*/ 5928528 w 5933553"/>
                  <a:gd name="connsiteY23" fmla="*/ 1503011 h 2242373"/>
                  <a:gd name="connsiteX24" fmla="*/ 5918480 w 5933553"/>
                  <a:gd name="connsiteY24" fmla="*/ 1613543 h 2242373"/>
                  <a:gd name="connsiteX25" fmla="*/ 5898383 w 5933553"/>
                  <a:gd name="connsiteY25" fmla="*/ 1693930 h 2242373"/>
                  <a:gd name="connsiteX26" fmla="*/ 5918480 w 5933553"/>
                  <a:gd name="connsiteY26" fmla="*/ 1784365 h 2242373"/>
                  <a:gd name="connsiteX27" fmla="*/ 5933553 w 5933553"/>
                  <a:gd name="connsiteY27" fmla="*/ 1819534 h 2242373"/>
                  <a:gd name="connsiteX28" fmla="*/ 5812972 w 5933553"/>
                  <a:gd name="connsiteY28" fmla="*/ 1879824 h 2242373"/>
                  <a:gd name="connsiteX29" fmla="*/ 5812972 w 5933553"/>
                  <a:gd name="connsiteY29" fmla="*/ 1879824 h 2242373"/>
                  <a:gd name="connsiteX30" fmla="*/ 5727561 w 5933553"/>
                  <a:gd name="connsiteY30" fmla="*/ 1940114 h 2242373"/>
                  <a:gd name="connsiteX31" fmla="*/ 5390942 w 5933553"/>
                  <a:gd name="connsiteY31" fmla="*/ 1945139 h 2242373"/>
                  <a:gd name="connsiteX32" fmla="*/ 5215671 w 5933553"/>
                  <a:gd name="connsiteY32" fmla="*/ 1943747 h 2242373"/>
                  <a:gd name="connsiteX33" fmla="*/ 4373415 w 5933553"/>
                  <a:gd name="connsiteY33" fmla="*/ 1925090 h 2242373"/>
                  <a:gd name="connsiteX34" fmla="*/ 1498818 w 5933553"/>
                  <a:gd name="connsiteY34" fmla="*/ 1899695 h 2242373"/>
                  <a:gd name="connsiteX35" fmla="*/ 619915 w 5933553"/>
                  <a:gd name="connsiteY35" fmla="*/ 1844655 h 2242373"/>
                  <a:gd name="connsiteX36" fmla="*/ 281355 w 5933553"/>
                  <a:gd name="connsiteY36" fmla="*/ 1844655 h 2242373"/>
                  <a:gd name="connsiteX37" fmla="*/ 130630 w 5933553"/>
                  <a:gd name="connsiteY37" fmla="*/ 1769292 h 2242373"/>
                  <a:gd name="connsiteX38" fmla="*/ 10049 w 5933553"/>
                  <a:gd name="connsiteY38" fmla="*/ 1688906 h 2242373"/>
                  <a:gd name="connsiteX39" fmla="*/ 1 w 5933553"/>
                  <a:gd name="connsiteY39" fmla="*/ 1548229 h 2242373"/>
                  <a:gd name="connsiteX0" fmla="*/ -1 w 5933551"/>
                  <a:gd name="connsiteY0" fmla="*/ 1537399 h 2231543"/>
                  <a:gd name="connsiteX1" fmla="*/ 2249 w 5933551"/>
                  <a:gd name="connsiteY1" fmla="*/ 347702 h 2231543"/>
                  <a:gd name="connsiteX2" fmla="*/ 411007 w 5933551"/>
                  <a:gd name="connsiteY2" fmla="*/ 25528 h 2231543"/>
                  <a:gd name="connsiteX3" fmla="*/ 2306096 w 5933551"/>
                  <a:gd name="connsiteY3" fmla="*/ 1 h 2231543"/>
                  <a:gd name="connsiteX4" fmla="*/ 3029577 w 5933551"/>
                  <a:gd name="connsiteY4" fmla="*/ 55267 h 2231543"/>
                  <a:gd name="connsiteX5" fmla="*/ 3135085 w 5933551"/>
                  <a:gd name="connsiteY5" fmla="*/ 75364 h 2231543"/>
                  <a:gd name="connsiteX6" fmla="*/ 3255665 w 5933551"/>
                  <a:gd name="connsiteY6" fmla="*/ 95460 h 2231543"/>
                  <a:gd name="connsiteX7" fmla="*/ 3542043 w 5933551"/>
                  <a:gd name="connsiteY7" fmla="*/ 180871 h 2231543"/>
                  <a:gd name="connsiteX8" fmla="*/ 3798276 w 5933551"/>
                  <a:gd name="connsiteY8" fmla="*/ 316524 h 2231543"/>
                  <a:gd name="connsiteX9" fmla="*/ 4210258 w 5933551"/>
                  <a:gd name="connsiteY9" fmla="*/ 542612 h 2231543"/>
                  <a:gd name="connsiteX10" fmla="*/ 4340887 w 5933551"/>
                  <a:gd name="connsiteY10" fmla="*/ 622999 h 2231543"/>
                  <a:gd name="connsiteX11" fmla="*/ 4381080 w 5933551"/>
                  <a:gd name="connsiteY11" fmla="*/ 653144 h 2231543"/>
                  <a:gd name="connsiteX12" fmla="*/ 4752869 w 5933551"/>
                  <a:gd name="connsiteY12" fmla="*/ 683289 h 2231543"/>
                  <a:gd name="connsiteX13" fmla="*/ 5164852 w 5933551"/>
                  <a:gd name="connsiteY13" fmla="*/ 758651 h 2231543"/>
                  <a:gd name="connsiteX14" fmla="*/ 5441181 w 5933551"/>
                  <a:gd name="connsiteY14" fmla="*/ 823966 h 2231543"/>
                  <a:gd name="connsiteX15" fmla="*/ 5612003 w 5933551"/>
                  <a:gd name="connsiteY15" fmla="*/ 899328 h 2231543"/>
                  <a:gd name="connsiteX16" fmla="*/ 5807946 w 5933551"/>
                  <a:gd name="connsiteY16" fmla="*/ 1045029 h 2231543"/>
                  <a:gd name="connsiteX17" fmla="*/ 5823019 w 5933551"/>
                  <a:gd name="connsiteY17" fmla="*/ 1115368 h 2231543"/>
                  <a:gd name="connsiteX18" fmla="*/ 5838091 w 5933551"/>
                  <a:gd name="connsiteY18" fmla="*/ 1215851 h 2231543"/>
                  <a:gd name="connsiteX19" fmla="*/ 5823019 w 5933551"/>
                  <a:gd name="connsiteY19" fmla="*/ 1245996 h 2231543"/>
                  <a:gd name="connsiteX20" fmla="*/ 5863212 w 5933551"/>
                  <a:gd name="connsiteY20" fmla="*/ 1296238 h 2231543"/>
                  <a:gd name="connsiteX21" fmla="*/ 5893357 w 5933551"/>
                  <a:gd name="connsiteY21" fmla="*/ 1356528 h 2231543"/>
                  <a:gd name="connsiteX22" fmla="*/ 5893357 w 5933551"/>
                  <a:gd name="connsiteY22" fmla="*/ 1431891 h 2231543"/>
                  <a:gd name="connsiteX23" fmla="*/ 5928526 w 5933551"/>
                  <a:gd name="connsiteY23" fmla="*/ 1492181 h 2231543"/>
                  <a:gd name="connsiteX24" fmla="*/ 5918478 w 5933551"/>
                  <a:gd name="connsiteY24" fmla="*/ 1602713 h 2231543"/>
                  <a:gd name="connsiteX25" fmla="*/ 5898381 w 5933551"/>
                  <a:gd name="connsiteY25" fmla="*/ 1683100 h 2231543"/>
                  <a:gd name="connsiteX26" fmla="*/ 5918478 w 5933551"/>
                  <a:gd name="connsiteY26" fmla="*/ 1773535 h 2231543"/>
                  <a:gd name="connsiteX27" fmla="*/ 5933551 w 5933551"/>
                  <a:gd name="connsiteY27" fmla="*/ 1808704 h 2231543"/>
                  <a:gd name="connsiteX28" fmla="*/ 5812970 w 5933551"/>
                  <a:gd name="connsiteY28" fmla="*/ 1868994 h 2231543"/>
                  <a:gd name="connsiteX29" fmla="*/ 5812970 w 5933551"/>
                  <a:gd name="connsiteY29" fmla="*/ 1868994 h 2231543"/>
                  <a:gd name="connsiteX30" fmla="*/ 5727559 w 5933551"/>
                  <a:gd name="connsiteY30" fmla="*/ 1929284 h 2231543"/>
                  <a:gd name="connsiteX31" fmla="*/ 5390940 w 5933551"/>
                  <a:gd name="connsiteY31" fmla="*/ 1934309 h 2231543"/>
                  <a:gd name="connsiteX32" fmla="*/ 5215669 w 5933551"/>
                  <a:gd name="connsiteY32" fmla="*/ 1932917 h 2231543"/>
                  <a:gd name="connsiteX33" fmla="*/ 4373413 w 5933551"/>
                  <a:gd name="connsiteY33" fmla="*/ 1914260 h 2231543"/>
                  <a:gd name="connsiteX34" fmla="*/ 1498816 w 5933551"/>
                  <a:gd name="connsiteY34" fmla="*/ 1888865 h 2231543"/>
                  <a:gd name="connsiteX35" fmla="*/ 619913 w 5933551"/>
                  <a:gd name="connsiteY35" fmla="*/ 1833825 h 2231543"/>
                  <a:gd name="connsiteX36" fmla="*/ 281353 w 5933551"/>
                  <a:gd name="connsiteY36" fmla="*/ 1833825 h 2231543"/>
                  <a:gd name="connsiteX37" fmla="*/ 130628 w 5933551"/>
                  <a:gd name="connsiteY37" fmla="*/ 1758462 h 2231543"/>
                  <a:gd name="connsiteX38" fmla="*/ 10047 w 5933551"/>
                  <a:gd name="connsiteY38" fmla="*/ 1678076 h 2231543"/>
                  <a:gd name="connsiteX39" fmla="*/ -1 w 5933551"/>
                  <a:gd name="connsiteY39" fmla="*/ 1537399 h 2231543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498818 w 5933553"/>
                  <a:gd name="connsiteY34" fmla="*/ 1888863 h 2231541"/>
                  <a:gd name="connsiteX35" fmla="*/ 61991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130630 w 5933553"/>
                  <a:gd name="connsiteY37" fmla="*/ 1758460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-1 w 5933551"/>
                  <a:gd name="connsiteY0" fmla="*/ 1537399 h 2231543"/>
                  <a:gd name="connsiteX1" fmla="*/ 2249 w 5933551"/>
                  <a:gd name="connsiteY1" fmla="*/ 347702 h 2231543"/>
                  <a:gd name="connsiteX2" fmla="*/ 411007 w 5933551"/>
                  <a:gd name="connsiteY2" fmla="*/ 10048 h 2231543"/>
                  <a:gd name="connsiteX3" fmla="*/ 2306096 w 5933551"/>
                  <a:gd name="connsiteY3" fmla="*/ 1 h 2231543"/>
                  <a:gd name="connsiteX4" fmla="*/ 3029577 w 5933551"/>
                  <a:gd name="connsiteY4" fmla="*/ 55267 h 2231543"/>
                  <a:gd name="connsiteX5" fmla="*/ 3135085 w 5933551"/>
                  <a:gd name="connsiteY5" fmla="*/ 75364 h 2231543"/>
                  <a:gd name="connsiteX6" fmla="*/ 3255665 w 5933551"/>
                  <a:gd name="connsiteY6" fmla="*/ 95460 h 2231543"/>
                  <a:gd name="connsiteX7" fmla="*/ 3542043 w 5933551"/>
                  <a:gd name="connsiteY7" fmla="*/ 180871 h 2231543"/>
                  <a:gd name="connsiteX8" fmla="*/ 3798276 w 5933551"/>
                  <a:gd name="connsiteY8" fmla="*/ 316524 h 2231543"/>
                  <a:gd name="connsiteX9" fmla="*/ 4210258 w 5933551"/>
                  <a:gd name="connsiteY9" fmla="*/ 542612 h 2231543"/>
                  <a:gd name="connsiteX10" fmla="*/ 4340887 w 5933551"/>
                  <a:gd name="connsiteY10" fmla="*/ 622999 h 2231543"/>
                  <a:gd name="connsiteX11" fmla="*/ 4381080 w 5933551"/>
                  <a:gd name="connsiteY11" fmla="*/ 653144 h 2231543"/>
                  <a:gd name="connsiteX12" fmla="*/ 4752869 w 5933551"/>
                  <a:gd name="connsiteY12" fmla="*/ 683289 h 2231543"/>
                  <a:gd name="connsiteX13" fmla="*/ 5164852 w 5933551"/>
                  <a:gd name="connsiteY13" fmla="*/ 758651 h 2231543"/>
                  <a:gd name="connsiteX14" fmla="*/ 5441181 w 5933551"/>
                  <a:gd name="connsiteY14" fmla="*/ 823966 h 2231543"/>
                  <a:gd name="connsiteX15" fmla="*/ 5612003 w 5933551"/>
                  <a:gd name="connsiteY15" fmla="*/ 899328 h 2231543"/>
                  <a:gd name="connsiteX16" fmla="*/ 5807946 w 5933551"/>
                  <a:gd name="connsiteY16" fmla="*/ 1045029 h 2231543"/>
                  <a:gd name="connsiteX17" fmla="*/ 5823019 w 5933551"/>
                  <a:gd name="connsiteY17" fmla="*/ 1115368 h 2231543"/>
                  <a:gd name="connsiteX18" fmla="*/ 5838091 w 5933551"/>
                  <a:gd name="connsiteY18" fmla="*/ 1215851 h 2231543"/>
                  <a:gd name="connsiteX19" fmla="*/ 5823019 w 5933551"/>
                  <a:gd name="connsiteY19" fmla="*/ 1245996 h 2231543"/>
                  <a:gd name="connsiteX20" fmla="*/ 5863212 w 5933551"/>
                  <a:gd name="connsiteY20" fmla="*/ 1296238 h 2231543"/>
                  <a:gd name="connsiteX21" fmla="*/ 5893357 w 5933551"/>
                  <a:gd name="connsiteY21" fmla="*/ 1356528 h 2231543"/>
                  <a:gd name="connsiteX22" fmla="*/ 5893357 w 5933551"/>
                  <a:gd name="connsiteY22" fmla="*/ 1431891 h 2231543"/>
                  <a:gd name="connsiteX23" fmla="*/ 5928526 w 5933551"/>
                  <a:gd name="connsiteY23" fmla="*/ 1492181 h 2231543"/>
                  <a:gd name="connsiteX24" fmla="*/ 5918478 w 5933551"/>
                  <a:gd name="connsiteY24" fmla="*/ 1602713 h 2231543"/>
                  <a:gd name="connsiteX25" fmla="*/ 5898381 w 5933551"/>
                  <a:gd name="connsiteY25" fmla="*/ 1683100 h 2231543"/>
                  <a:gd name="connsiteX26" fmla="*/ 5918478 w 5933551"/>
                  <a:gd name="connsiteY26" fmla="*/ 1773535 h 2231543"/>
                  <a:gd name="connsiteX27" fmla="*/ 5933551 w 5933551"/>
                  <a:gd name="connsiteY27" fmla="*/ 1808704 h 2231543"/>
                  <a:gd name="connsiteX28" fmla="*/ 5812970 w 5933551"/>
                  <a:gd name="connsiteY28" fmla="*/ 1868994 h 2231543"/>
                  <a:gd name="connsiteX29" fmla="*/ 5812970 w 5933551"/>
                  <a:gd name="connsiteY29" fmla="*/ 1868994 h 2231543"/>
                  <a:gd name="connsiteX30" fmla="*/ 5727559 w 5933551"/>
                  <a:gd name="connsiteY30" fmla="*/ 1929284 h 2231543"/>
                  <a:gd name="connsiteX31" fmla="*/ 5390940 w 5933551"/>
                  <a:gd name="connsiteY31" fmla="*/ 1934309 h 2231543"/>
                  <a:gd name="connsiteX32" fmla="*/ 5215669 w 5933551"/>
                  <a:gd name="connsiteY32" fmla="*/ 1932917 h 2231543"/>
                  <a:gd name="connsiteX33" fmla="*/ 4373413 w 5933551"/>
                  <a:gd name="connsiteY33" fmla="*/ 1914260 h 2231543"/>
                  <a:gd name="connsiteX34" fmla="*/ 1498816 w 5933551"/>
                  <a:gd name="connsiteY34" fmla="*/ 1888865 h 2231543"/>
                  <a:gd name="connsiteX35" fmla="*/ 619913 w 5933551"/>
                  <a:gd name="connsiteY35" fmla="*/ 1833825 h 2231543"/>
                  <a:gd name="connsiteX36" fmla="*/ 281353 w 5933551"/>
                  <a:gd name="connsiteY36" fmla="*/ 1833825 h 2231543"/>
                  <a:gd name="connsiteX37" fmla="*/ 74973 w 5933551"/>
                  <a:gd name="connsiteY37" fmla="*/ 1804901 h 2231543"/>
                  <a:gd name="connsiteX38" fmla="*/ 10047 w 5933551"/>
                  <a:gd name="connsiteY38" fmla="*/ 1678076 h 2231543"/>
                  <a:gd name="connsiteX39" fmla="*/ -1 w 5933551"/>
                  <a:gd name="connsiteY39" fmla="*/ 1537399 h 2231543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498818 w 5933553"/>
                  <a:gd name="connsiteY34" fmla="*/ 1888863 h 2231541"/>
                  <a:gd name="connsiteX35" fmla="*/ 61991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855724 w 5933553"/>
                  <a:gd name="connsiteY34" fmla="*/ 1888862 h 2231541"/>
                  <a:gd name="connsiteX35" fmla="*/ 61991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855724 w 5933553"/>
                  <a:gd name="connsiteY34" fmla="*/ 1888862 h 2231541"/>
                  <a:gd name="connsiteX35" fmla="*/ 93106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855724 w 5933553"/>
                  <a:gd name="connsiteY34" fmla="*/ 1888862 h 2231541"/>
                  <a:gd name="connsiteX35" fmla="*/ 93106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24958"/>
                  <a:gd name="connsiteX1" fmla="*/ 2251 w 5933553"/>
                  <a:gd name="connsiteY1" fmla="*/ 347700 h 2224958"/>
                  <a:gd name="connsiteX2" fmla="*/ 411009 w 5933553"/>
                  <a:gd name="connsiteY2" fmla="*/ 10046 h 2224958"/>
                  <a:gd name="connsiteX3" fmla="*/ 2306098 w 5933553"/>
                  <a:gd name="connsiteY3" fmla="*/ -1 h 2224958"/>
                  <a:gd name="connsiteX4" fmla="*/ 3029579 w 5933553"/>
                  <a:gd name="connsiteY4" fmla="*/ 55265 h 2224958"/>
                  <a:gd name="connsiteX5" fmla="*/ 3135087 w 5933553"/>
                  <a:gd name="connsiteY5" fmla="*/ 75362 h 2224958"/>
                  <a:gd name="connsiteX6" fmla="*/ 3255667 w 5933553"/>
                  <a:gd name="connsiteY6" fmla="*/ 95458 h 2224958"/>
                  <a:gd name="connsiteX7" fmla="*/ 3542045 w 5933553"/>
                  <a:gd name="connsiteY7" fmla="*/ 180869 h 2224958"/>
                  <a:gd name="connsiteX8" fmla="*/ 3798278 w 5933553"/>
                  <a:gd name="connsiteY8" fmla="*/ 316522 h 2224958"/>
                  <a:gd name="connsiteX9" fmla="*/ 4210260 w 5933553"/>
                  <a:gd name="connsiteY9" fmla="*/ 542610 h 2224958"/>
                  <a:gd name="connsiteX10" fmla="*/ 4340889 w 5933553"/>
                  <a:gd name="connsiteY10" fmla="*/ 622997 h 2224958"/>
                  <a:gd name="connsiteX11" fmla="*/ 4381082 w 5933553"/>
                  <a:gd name="connsiteY11" fmla="*/ 653142 h 2224958"/>
                  <a:gd name="connsiteX12" fmla="*/ 4752871 w 5933553"/>
                  <a:gd name="connsiteY12" fmla="*/ 683287 h 2224958"/>
                  <a:gd name="connsiteX13" fmla="*/ 5164854 w 5933553"/>
                  <a:gd name="connsiteY13" fmla="*/ 758649 h 2224958"/>
                  <a:gd name="connsiteX14" fmla="*/ 5441183 w 5933553"/>
                  <a:gd name="connsiteY14" fmla="*/ 823964 h 2224958"/>
                  <a:gd name="connsiteX15" fmla="*/ 5612005 w 5933553"/>
                  <a:gd name="connsiteY15" fmla="*/ 899326 h 2224958"/>
                  <a:gd name="connsiteX16" fmla="*/ 5807948 w 5933553"/>
                  <a:gd name="connsiteY16" fmla="*/ 1045027 h 2224958"/>
                  <a:gd name="connsiteX17" fmla="*/ 5823021 w 5933553"/>
                  <a:gd name="connsiteY17" fmla="*/ 1115366 h 2224958"/>
                  <a:gd name="connsiteX18" fmla="*/ 5838093 w 5933553"/>
                  <a:gd name="connsiteY18" fmla="*/ 1215849 h 2224958"/>
                  <a:gd name="connsiteX19" fmla="*/ 5823021 w 5933553"/>
                  <a:gd name="connsiteY19" fmla="*/ 1245994 h 2224958"/>
                  <a:gd name="connsiteX20" fmla="*/ 5863214 w 5933553"/>
                  <a:gd name="connsiteY20" fmla="*/ 1296236 h 2224958"/>
                  <a:gd name="connsiteX21" fmla="*/ 5893359 w 5933553"/>
                  <a:gd name="connsiteY21" fmla="*/ 1356526 h 2224958"/>
                  <a:gd name="connsiteX22" fmla="*/ 5893359 w 5933553"/>
                  <a:gd name="connsiteY22" fmla="*/ 1431889 h 2224958"/>
                  <a:gd name="connsiteX23" fmla="*/ 5928528 w 5933553"/>
                  <a:gd name="connsiteY23" fmla="*/ 1492179 h 2224958"/>
                  <a:gd name="connsiteX24" fmla="*/ 5918480 w 5933553"/>
                  <a:gd name="connsiteY24" fmla="*/ 1602711 h 2224958"/>
                  <a:gd name="connsiteX25" fmla="*/ 5898383 w 5933553"/>
                  <a:gd name="connsiteY25" fmla="*/ 1683098 h 2224958"/>
                  <a:gd name="connsiteX26" fmla="*/ 5918480 w 5933553"/>
                  <a:gd name="connsiteY26" fmla="*/ 1773533 h 2224958"/>
                  <a:gd name="connsiteX27" fmla="*/ 5933553 w 5933553"/>
                  <a:gd name="connsiteY27" fmla="*/ 1808702 h 2224958"/>
                  <a:gd name="connsiteX28" fmla="*/ 5812972 w 5933553"/>
                  <a:gd name="connsiteY28" fmla="*/ 1868992 h 2224958"/>
                  <a:gd name="connsiteX29" fmla="*/ 5812972 w 5933553"/>
                  <a:gd name="connsiteY29" fmla="*/ 1868992 h 2224958"/>
                  <a:gd name="connsiteX30" fmla="*/ 5727561 w 5933553"/>
                  <a:gd name="connsiteY30" fmla="*/ 1929282 h 2224958"/>
                  <a:gd name="connsiteX31" fmla="*/ 5390942 w 5933553"/>
                  <a:gd name="connsiteY31" fmla="*/ 1934307 h 2224958"/>
                  <a:gd name="connsiteX32" fmla="*/ 5215671 w 5933553"/>
                  <a:gd name="connsiteY32" fmla="*/ 1932915 h 2224958"/>
                  <a:gd name="connsiteX33" fmla="*/ 1855724 w 5933553"/>
                  <a:gd name="connsiteY33" fmla="*/ 1888862 h 2224958"/>
                  <a:gd name="connsiteX34" fmla="*/ 931065 w 5933553"/>
                  <a:gd name="connsiteY34" fmla="*/ 1833823 h 2224958"/>
                  <a:gd name="connsiteX35" fmla="*/ 281355 w 5933553"/>
                  <a:gd name="connsiteY35" fmla="*/ 1833823 h 2224958"/>
                  <a:gd name="connsiteX36" fmla="*/ 74975 w 5933553"/>
                  <a:gd name="connsiteY36" fmla="*/ 1804899 h 2224958"/>
                  <a:gd name="connsiteX37" fmla="*/ 10049 w 5933553"/>
                  <a:gd name="connsiteY37" fmla="*/ 1678074 h 2224958"/>
                  <a:gd name="connsiteX38" fmla="*/ 1 w 5933553"/>
                  <a:gd name="connsiteY38" fmla="*/ 1537397 h 2224958"/>
                  <a:gd name="connsiteX0" fmla="*/ 1 w 5933553"/>
                  <a:gd name="connsiteY0" fmla="*/ 1537397 h 1934306"/>
                  <a:gd name="connsiteX1" fmla="*/ 2251 w 5933553"/>
                  <a:gd name="connsiteY1" fmla="*/ 347700 h 1934306"/>
                  <a:gd name="connsiteX2" fmla="*/ 411009 w 5933553"/>
                  <a:gd name="connsiteY2" fmla="*/ 10046 h 1934306"/>
                  <a:gd name="connsiteX3" fmla="*/ 2306098 w 5933553"/>
                  <a:gd name="connsiteY3" fmla="*/ -1 h 1934306"/>
                  <a:gd name="connsiteX4" fmla="*/ 3029579 w 5933553"/>
                  <a:gd name="connsiteY4" fmla="*/ 55265 h 1934306"/>
                  <a:gd name="connsiteX5" fmla="*/ 3135087 w 5933553"/>
                  <a:gd name="connsiteY5" fmla="*/ 75362 h 1934306"/>
                  <a:gd name="connsiteX6" fmla="*/ 3255667 w 5933553"/>
                  <a:gd name="connsiteY6" fmla="*/ 95458 h 1934306"/>
                  <a:gd name="connsiteX7" fmla="*/ 3542045 w 5933553"/>
                  <a:gd name="connsiteY7" fmla="*/ 180869 h 1934306"/>
                  <a:gd name="connsiteX8" fmla="*/ 3798278 w 5933553"/>
                  <a:gd name="connsiteY8" fmla="*/ 316522 h 1934306"/>
                  <a:gd name="connsiteX9" fmla="*/ 4210260 w 5933553"/>
                  <a:gd name="connsiteY9" fmla="*/ 542610 h 1934306"/>
                  <a:gd name="connsiteX10" fmla="*/ 4340889 w 5933553"/>
                  <a:gd name="connsiteY10" fmla="*/ 622997 h 1934306"/>
                  <a:gd name="connsiteX11" fmla="*/ 4381082 w 5933553"/>
                  <a:gd name="connsiteY11" fmla="*/ 653142 h 1934306"/>
                  <a:gd name="connsiteX12" fmla="*/ 4752871 w 5933553"/>
                  <a:gd name="connsiteY12" fmla="*/ 683287 h 1934306"/>
                  <a:gd name="connsiteX13" fmla="*/ 5164854 w 5933553"/>
                  <a:gd name="connsiteY13" fmla="*/ 758649 h 1934306"/>
                  <a:gd name="connsiteX14" fmla="*/ 5441183 w 5933553"/>
                  <a:gd name="connsiteY14" fmla="*/ 823964 h 1934306"/>
                  <a:gd name="connsiteX15" fmla="*/ 5612005 w 5933553"/>
                  <a:gd name="connsiteY15" fmla="*/ 899326 h 1934306"/>
                  <a:gd name="connsiteX16" fmla="*/ 5807948 w 5933553"/>
                  <a:gd name="connsiteY16" fmla="*/ 1045027 h 1934306"/>
                  <a:gd name="connsiteX17" fmla="*/ 5823021 w 5933553"/>
                  <a:gd name="connsiteY17" fmla="*/ 1115366 h 1934306"/>
                  <a:gd name="connsiteX18" fmla="*/ 5838093 w 5933553"/>
                  <a:gd name="connsiteY18" fmla="*/ 1215849 h 1934306"/>
                  <a:gd name="connsiteX19" fmla="*/ 5823021 w 5933553"/>
                  <a:gd name="connsiteY19" fmla="*/ 1245994 h 1934306"/>
                  <a:gd name="connsiteX20" fmla="*/ 5863214 w 5933553"/>
                  <a:gd name="connsiteY20" fmla="*/ 1296236 h 1934306"/>
                  <a:gd name="connsiteX21" fmla="*/ 5893359 w 5933553"/>
                  <a:gd name="connsiteY21" fmla="*/ 1356526 h 1934306"/>
                  <a:gd name="connsiteX22" fmla="*/ 5893359 w 5933553"/>
                  <a:gd name="connsiteY22" fmla="*/ 1431889 h 1934306"/>
                  <a:gd name="connsiteX23" fmla="*/ 5928528 w 5933553"/>
                  <a:gd name="connsiteY23" fmla="*/ 1492179 h 1934306"/>
                  <a:gd name="connsiteX24" fmla="*/ 5918480 w 5933553"/>
                  <a:gd name="connsiteY24" fmla="*/ 1602711 h 1934306"/>
                  <a:gd name="connsiteX25" fmla="*/ 5898383 w 5933553"/>
                  <a:gd name="connsiteY25" fmla="*/ 1683098 h 1934306"/>
                  <a:gd name="connsiteX26" fmla="*/ 5918480 w 5933553"/>
                  <a:gd name="connsiteY26" fmla="*/ 1773533 h 1934306"/>
                  <a:gd name="connsiteX27" fmla="*/ 5933553 w 5933553"/>
                  <a:gd name="connsiteY27" fmla="*/ 1808702 h 1934306"/>
                  <a:gd name="connsiteX28" fmla="*/ 5812972 w 5933553"/>
                  <a:gd name="connsiteY28" fmla="*/ 1868992 h 1934306"/>
                  <a:gd name="connsiteX29" fmla="*/ 5812972 w 5933553"/>
                  <a:gd name="connsiteY29" fmla="*/ 1868992 h 1934306"/>
                  <a:gd name="connsiteX30" fmla="*/ 5727561 w 5933553"/>
                  <a:gd name="connsiteY30" fmla="*/ 1929282 h 1934306"/>
                  <a:gd name="connsiteX31" fmla="*/ 5390942 w 5933553"/>
                  <a:gd name="connsiteY31" fmla="*/ 1934307 h 1934306"/>
                  <a:gd name="connsiteX32" fmla="*/ 5215671 w 5933553"/>
                  <a:gd name="connsiteY32" fmla="*/ 1932915 h 1934306"/>
                  <a:gd name="connsiteX33" fmla="*/ 931065 w 5933553"/>
                  <a:gd name="connsiteY33" fmla="*/ 1833823 h 1934306"/>
                  <a:gd name="connsiteX34" fmla="*/ 281355 w 5933553"/>
                  <a:gd name="connsiteY34" fmla="*/ 1833823 h 1934306"/>
                  <a:gd name="connsiteX35" fmla="*/ 74975 w 5933553"/>
                  <a:gd name="connsiteY35" fmla="*/ 1804899 h 1934306"/>
                  <a:gd name="connsiteX36" fmla="*/ 10049 w 5933553"/>
                  <a:gd name="connsiteY36" fmla="*/ 1678074 h 1934306"/>
                  <a:gd name="connsiteX37" fmla="*/ 1 w 5933553"/>
                  <a:gd name="connsiteY37" fmla="*/ 1537397 h 1934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933553" h="1934306">
                    <a:moveTo>
                      <a:pt x="1" y="1537397"/>
                    </a:moveTo>
                    <a:lnTo>
                      <a:pt x="2251" y="347700"/>
                    </a:lnTo>
                    <a:cubicBezTo>
                      <a:pt x="21895" y="106150"/>
                      <a:pt x="34985" y="13819"/>
                      <a:pt x="411009" y="10046"/>
                    </a:cubicBezTo>
                    <a:lnTo>
                      <a:pt x="2306098" y="-1"/>
                    </a:lnTo>
                    <a:cubicBezTo>
                      <a:pt x="2742526" y="7536"/>
                      <a:pt x="2891414" y="42705"/>
                      <a:pt x="3029579" y="55265"/>
                    </a:cubicBezTo>
                    <a:cubicBezTo>
                      <a:pt x="3167744" y="67825"/>
                      <a:pt x="3099918" y="68663"/>
                      <a:pt x="3135087" y="75362"/>
                    </a:cubicBezTo>
                    <a:lnTo>
                      <a:pt x="3255667" y="95458"/>
                    </a:lnTo>
                    <a:cubicBezTo>
                      <a:pt x="3323493" y="113043"/>
                      <a:pt x="3456634" y="135651"/>
                      <a:pt x="3542045" y="180869"/>
                    </a:cubicBezTo>
                    <a:lnTo>
                      <a:pt x="3798278" y="316522"/>
                    </a:lnTo>
                    <a:lnTo>
                      <a:pt x="4210260" y="542610"/>
                    </a:lnTo>
                    <a:lnTo>
                      <a:pt x="4340889" y="622997"/>
                    </a:lnTo>
                    <a:lnTo>
                      <a:pt x="4381082" y="653142"/>
                    </a:lnTo>
                    <a:cubicBezTo>
                      <a:pt x="4449746" y="663190"/>
                      <a:pt x="4622242" y="665703"/>
                      <a:pt x="4752871" y="683287"/>
                    </a:cubicBezTo>
                    <a:cubicBezTo>
                      <a:pt x="4883500" y="700871"/>
                      <a:pt x="5072744" y="736877"/>
                      <a:pt x="5164854" y="758649"/>
                    </a:cubicBezTo>
                    <a:lnTo>
                      <a:pt x="5441183" y="823964"/>
                    </a:lnTo>
                    <a:cubicBezTo>
                      <a:pt x="5515708" y="847410"/>
                      <a:pt x="5546691" y="850759"/>
                      <a:pt x="5612005" y="899326"/>
                    </a:cubicBezTo>
                    <a:lnTo>
                      <a:pt x="5807948" y="1045027"/>
                    </a:lnTo>
                    <a:lnTo>
                      <a:pt x="5823021" y="1115366"/>
                    </a:lnTo>
                    <a:lnTo>
                      <a:pt x="5838093" y="1215849"/>
                    </a:lnTo>
                    <a:lnTo>
                      <a:pt x="5823021" y="1245994"/>
                    </a:lnTo>
                    <a:lnTo>
                      <a:pt x="5863214" y="1296236"/>
                    </a:lnTo>
                    <a:lnTo>
                      <a:pt x="5893359" y="1356526"/>
                    </a:lnTo>
                    <a:lnTo>
                      <a:pt x="5893359" y="1431889"/>
                    </a:lnTo>
                    <a:lnTo>
                      <a:pt x="5928528" y="1492179"/>
                    </a:lnTo>
                    <a:lnTo>
                      <a:pt x="5918480" y="1602711"/>
                    </a:lnTo>
                    <a:lnTo>
                      <a:pt x="5898383" y="1683098"/>
                    </a:lnTo>
                    <a:lnTo>
                      <a:pt x="5918480" y="1773533"/>
                    </a:lnTo>
                    <a:lnTo>
                      <a:pt x="5933553" y="1808702"/>
                    </a:lnTo>
                    <a:lnTo>
                      <a:pt x="5812972" y="1868992"/>
                    </a:lnTo>
                    <a:lnTo>
                      <a:pt x="5812972" y="1868992"/>
                    </a:lnTo>
                    <a:lnTo>
                      <a:pt x="5727561" y="1929282"/>
                    </a:lnTo>
                    <a:lnTo>
                      <a:pt x="5390942" y="1934307"/>
                    </a:lnTo>
                    <a:lnTo>
                      <a:pt x="5215671" y="1932915"/>
                    </a:lnTo>
                    <a:lnTo>
                      <a:pt x="931065" y="1833823"/>
                    </a:lnTo>
                    <a:lnTo>
                      <a:pt x="281355" y="1833823"/>
                    </a:lnTo>
                    <a:cubicBezTo>
                      <a:pt x="190532" y="1829002"/>
                      <a:pt x="120193" y="1830857"/>
                      <a:pt x="74975" y="1804899"/>
                    </a:cubicBezTo>
                    <a:cubicBezTo>
                      <a:pt x="29757" y="1778941"/>
                      <a:pt x="22545" y="1722658"/>
                      <a:pt x="10049" y="1678074"/>
                    </a:cubicBezTo>
                    <a:lnTo>
                      <a:pt x="1" y="1537397"/>
                    </a:lnTo>
                    <a:close/>
                  </a:path>
                </a:pathLst>
              </a:custGeom>
              <a:grpFill/>
              <a:ln w="381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1</a:t>
                </a:r>
              </a:p>
            </p:txBody>
          </p:sp>
          <p:sp>
            <p:nvSpPr>
              <p:cNvPr id="35" name="Oval 34"/>
              <p:cNvSpPr/>
              <p:nvPr/>
            </p:nvSpPr>
            <p:spPr>
              <a:xfrm>
                <a:off x="1319209" y="2871753"/>
                <a:ext cx="288282" cy="28828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2369164" y="2871752"/>
                <a:ext cx="288282" cy="28828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11" name="Oval 110"/>
            <p:cNvSpPr/>
            <p:nvPr/>
          </p:nvSpPr>
          <p:spPr>
            <a:xfrm>
              <a:off x="1504982" y="4254451"/>
              <a:ext cx="142406" cy="14240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2023641" y="4254451"/>
              <a:ext cx="142406" cy="14240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0" name="TextBox 129"/>
          <p:cNvSpPr txBox="1"/>
          <p:nvPr/>
        </p:nvSpPr>
        <p:spPr>
          <a:xfrm>
            <a:off x="8482864" y="3277465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lt;/= 3.5t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8474298" y="4268276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5t &lt; GVM &lt;/= 12t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8660915" y="5238541"/>
            <a:ext cx="77877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gt; 12t</a:t>
            </a:r>
          </a:p>
        </p:txBody>
      </p:sp>
      <p:grpSp>
        <p:nvGrpSpPr>
          <p:cNvPr id="134" name="Group 133"/>
          <p:cNvGrpSpPr/>
          <p:nvPr/>
        </p:nvGrpSpPr>
        <p:grpSpPr>
          <a:xfrm>
            <a:off x="10796206" y="3123437"/>
            <a:ext cx="648223" cy="563884"/>
            <a:chOff x="5486950" y="5705087"/>
            <a:chExt cx="1051801" cy="914953"/>
          </a:xfrm>
          <a:solidFill>
            <a:schemeClr val="accent2">
              <a:lumMod val="75000"/>
            </a:schemeClr>
          </a:solidFill>
        </p:grpSpPr>
        <p:sp>
          <p:nvSpPr>
            <p:cNvPr id="135" name="Rounded Rectangle 134"/>
            <p:cNvSpPr/>
            <p:nvPr/>
          </p:nvSpPr>
          <p:spPr>
            <a:xfrm>
              <a:off x="5486950" y="5705087"/>
              <a:ext cx="1038985" cy="79589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X</a:t>
              </a:r>
            </a:p>
          </p:txBody>
        </p:sp>
        <p:sp>
          <p:nvSpPr>
            <p:cNvPr id="136" name="Oval 135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2" name="TextBox 141"/>
          <p:cNvSpPr txBox="1"/>
          <p:nvPr/>
        </p:nvSpPr>
        <p:spPr>
          <a:xfrm>
            <a:off x="10720609" y="3719248"/>
            <a:ext cx="79933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[25] km/h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212090" y="4540336"/>
            <a:ext cx="1327306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Hub-2-Hub truck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3698207" y="3475418"/>
            <a:ext cx="2137025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Robotaxi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9912424" y="1818323"/>
            <a:ext cx="23977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categories X &amp; 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„Low speed driverless AV‘s“ 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10802428" y="4279749"/>
            <a:ext cx="642003" cy="563884"/>
            <a:chOff x="5497043" y="5705087"/>
            <a:chExt cx="1041708" cy="914953"/>
          </a:xfrm>
          <a:solidFill>
            <a:schemeClr val="accent2">
              <a:lumMod val="75000"/>
            </a:schemeClr>
          </a:solidFill>
        </p:grpSpPr>
        <p:sp>
          <p:nvSpPr>
            <p:cNvPr id="116" name="Rounded Rectangle 115"/>
            <p:cNvSpPr/>
            <p:nvPr/>
          </p:nvSpPr>
          <p:spPr>
            <a:xfrm>
              <a:off x="5497043" y="5705087"/>
              <a:ext cx="1038986" cy="79589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Y</a:t>
              </a:r>
            </a:p>
          </p:txBody>
        </p:sp>
        <p:sp>
          <p:nvSpPr>
            <p:cNvPr id="117" name="Oval 116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TextBox 142"/>
          <p:cNvSpPr txBox="1"/>
          <p:nvPr/>
        </p:nvSpPr>
        <p:spPr>
          <a:xfrm>
            <a:off x="10563266" y="4857631"/>
            <a:ext cx="11284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25] km/h &lt;/= v &lt;/= [50]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10563267" y="5196400"/>
            <a:ext cx="112840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Urban shuttle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10560496" y="3902979"/>
            <a:ext cx="122614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Campus shuttle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2456250" y="3277158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lt;/= 3.5t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2447684" y="4267969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5t &lt; GVM &lt;/= 12t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2634301" y="5238234"/>
            <a:ext cx="77877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gt; 12t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122354" y="1821963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people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2061640" y="1821963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goods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75642" y="3251983"/>
            <a:ext cx="192827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seat + max. 8 add. seats, 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limitation of GVM </a:t>
            </a:r>
          </a:p>
        </p:txBody>
      </p:sp>
      <p:sp>
        <p:nvSpPr>
          <p:cNvPr id="188" name="Rectangle 187"/>
          <p:cNvSpPr/>
          <p:nvPr/>
        </p:nvSpPr>
        <p:spPr>
          <a:xfrm>
            <a:off x="47325" y="4208191"/>
            <a:ext cx="20865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seat + more than 8 add. seats,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max. 5 t</a:t>
            </a:r>
          </a:p>
        </p:txBody>
      </p:sp>
      <p:sp>
        <p:nvSpPr>
          <p:cNvPr id="189" name="Rectangle 188"/>
          <p:cNvSpPr/>
          <p:nvPr/>
        </p:nvSpPr>
        <p:spPr>
          <a:xfrm>
            <a:off x="51096" y="5225404"/>
            <a:ext cx="2092432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seat + more than 8 add. seats,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exceeding 5 t</a:t>
            </a:r>
          </a:p>
        </p:txBody>
      </p:sp>
      <p:sp>
        <p:nvSpPr>
          <p:cNvPr id="2" name="Rectangle 1"/>
          <p:cNvSpPr/>
          <p:nvPr/>
        </p:nvSpPr>
        <p:spPr>
          <a:xfrm>
            <a:off x="142818" y="6044875"/>
            <a:ext cx="5889812" cy="2588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s which can be driven manually under nominal conditions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4453630" y="6456929"/>
            <a:ext cx="7361233" cy="2588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‘s which do not require a driver/fallback-ready user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34ECF39-F94E-461A-B696-B3C82A0903EB}"/>
              </a:ext>
            </a:extLst>
          </p:cNvPr>
          <p:cNvSpPr txBox="1"/>
          <p:nvPr/>
        </p:nvSpPr>
        <p:spPr>
          <a:xfrm>
            <a:off x="5292412" y="648391"/>
            <a:ext cx="489178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sub categories for Automated Vehicles (AV‘s)</a:t>
            </a:r>
          </a:p>
        </p:txBody>
      </p:sp>
      <p:sp>
        <p:nvSpPr>
          <p:cNvPr id="4" name="Rectangle 3"/>
          <p:cNvSpPr/>
          <p:nvPr/>
        </p:nvSpPr>
        <p:spPr>
          <a:xfrm>
            <a:off x="8308269" y="4969107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3A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5796096" y="5658342"/>
            <a:ext cx="188272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Class I, II, III and Class A, B can be carried over</a:t>
            </a:r>
            <a:endParaRPr kumimoji="0" lang="el-GR" sz="1000" b="0" i="1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Freeform 139"/>
          <p:cNvSpPr/>
          <p:nvPr/>
        </p:nvSpPr>
        <p:spPr>
          <a:xfrm flipH="1">
            <a:off x="4387336" y="4892053"/>
            <a:ext cx="863295" cy="333976"/>
          </a:xfrm>
          <a:custGeom>
            <a:avLst/>
            <a:gdLst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12466 w 5933552"/>
              <a:gd name="connsiteY72" fmla="*/ 1627833 h 1934308"/>
              <a:gd name="connsiteX73" fmla="*/ 497393 w 5933552"/>
              <a:gd name="connsiteY73" fmla="*/ 1753437 h 1934308"/>
              <a:gd name="connsiteX74" fmla="*/ 507442 w 5933552"/>
              <a:gd name="connsiteY74" fmla="*/ 1833824 h 1934308"/>
              <a:gd name="connsiteX75" fmla="*/ 281354 w 5933552"/>
              <a:gd name="connsiteY75" fmla="*/ 1833824 h 1934308"/>
              <a:gd name="connsiteX76" fmla="*/ 130629 w 5933552"/>
              <a:gd name="connsiteY76" fmla="*/ 1758461 h 1934308"/>
              <a:gd name="connsiteX77" fmla="*/ 10048 w 5933552"/>
              <a:gd name="connsiteY77" fmla="*/ 1678075 h 1934308"/>
              <a:gd name="connsiteX78" fmla="*/ 0 w 5933552"/>
              <a:gd name="connsiteY78" fmla="*/ 1537398 h 1934308"/>
              <a:gd name="connsiteX79" fmla="*/ 15072 w 5933552"/>
              <a:gd name="connsiteY79" fmla="*/ 1487156 h 1934308"/>
              <a:gd name="connsiteX80" fmla="*/ 15072 w 5933552"/>
              <a:gd name="connsiteY80" fmla="*/ 1431890 h 1934308"/>
              <a:gd name="connsiteX81" fmla="*/ 25121 w 5933552"/>
              <a:gd name="connsiteY81" fmla="*/ 1381648 h 1934308"/>
              <a:gd name="connsiteX82" fmla="*/ 40193 w 5933552"/>
              <a:gd name="connsiteY82" fmla="*/ 1356527 h 1934308"/>
              <a:gd name="connsiteX83" fmla="*/ 65314 w 5933552"/>
              <a:gd name="connsiteY8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512466 w 5933552"/>
              <a:gd name="connsiteY71" fmla="*/ 1627833 h 1934308"/>
              <a:gd name="connsiteX72" fmla="*/ 497393 w 5933552"/>
              <a:gd name="connsiteY72" fmla="*/ 1753437 h 1934308"/>
              <a:gd name="connsiteX73" fmla="*/ 507442 w 5933552"/>
              <a:gd name="connsiteY73" fmla="*/ 1833824 h 1934308"/>
              <a:gd name="connsiteX74" fmla="*/ 281354 w 5933552"/>
              <a:gd name="connsiteY74" fmla="*/ 1833824 h 1934308"/>
              <a:gd name="connsiteX75" fmla="*/ 130629 w 5933552"/>
              <a:gd name="connsiteY75" fmla="*/ 1758461 h 1934308"/>
              <a:gd name="connsiteX76" fmla="*/ 10048 w 5933552"/>
              <a:gd name="connsiteY76" fmla="*/ 1678075 h 1934308"/>
              <a:gd name="connsiteX77" fmla="*/ 0 w 5933552"/>
              <a:gd name="connsiteY77" fmla="*/ 1537398 h 1934308"/>
              <a:gd name="connsiteX78" fmla="*/ 15072 w 5933552"/>
              <a:gd name="connsiteY78" fmla="*/ 1487156 h 1934308"/>
              <a:gd name="connsiteX79" fmla="*/ 15072 w 5933552"/>
              <a:gd name="connsiteY79" fmla="*/ 1431890 h 1934308"/>
              <a:gd name="connsiteX80" fmla="*/ 25121 w 5933552"/>
              <a:gd name="connsiteY80" fmla="*/ 1381648 h 1934308"/>
              <a:gd name="connsiteX81" fmla="*/ 40193 w 5933552"/>
              <a:gd name="connsiteY81" fmla="*/ 1356527 h 1934308"/>
              <a:gd name="connsiteX82" fmla="*/ 65314 w 5933552"/>
              <a:gd name="connsiteY82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497393 w 5933552"/>
              <a:gd name="connsiteY71" fmla="*/ 1753437 h 1934308"/>
              <a:gd name="connsiteX72" fmla="*/ 507442 w 5933552"/>
              <a:gd name="connsiteY72" fmla="*/ 1833824 h 1934308"/>
              <a:gd name="connsiteX73" fmla="*/ 281354 w 5933552"/>
              <a:gd name="connsiteY73" fmla="*/ 1833824 h 1934308"/>
              <a:gd name="connsiteX74" fmla="*/ 130629 w 5933552"/>
              <a:gd name="connsiteY74" fmla="*/ 1758461 h 1934308"/>
              <a:gd name="connsiteX75" fmla="*/ 10048 w 5933552"/>
              <a:gd name="connsiteY75" fmla="*/ 1678075 h 1934308"/>
              <a:gd name="connsiteX76" fmla="*/ 0 w 5933552"/>
              <a:gd name="connsiteY76" fmla="*/ 1537398 h 1934308"/>
              <a:gd name="connsiteX77" fmla="*/ 15072 w 5933552"/>
              <a:gd name="connsiteY77" fmla="*/ 1487156 h 1934308"/>
              <a:gd name="connsiteX78" fmla="*/ 15072 w 5933552"/>
              <a:gd name="connsiteY78" fmla="*/ 1431890 h 1934308"/>
              <a:gd name="connsiteX79" fmla="*/ 25121 w 5933552"/>
              <a:gd name="connsiteY79" fmla="*/ 1381648 h 1934308"/>
              <a:gd name="connsiteX80" fmla="*/ 40193 w 5933552"/>
              <a:gd name="connsiteY80" fmla="*/ 1356527 h 1934308"/>
              <a:gd name="connsiteX81" fmla="*/ 65314 w 5933552"/>
              <a:gd name="connsiteY81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507442 w 5933552"/>
              <a:gd name="connsiteY71" fmla="*/ 1833824 h 1934308"/>
              <a:gd name="connsiteX72" fmla="*/ 281354 w 5933552"/>
              <a:gd name="connsiteY72" fmla="*/ 1833824 h 1934308"/>
              <a:gd name="connsiteX73" fmla="*/ 130629 w 5933552"/>
              <a:gd name="connsiteY73" fmla="*/ 1758461 h 1934308"/>
              <a:gd name="connsiteX74" fmla="*/ 10048 w 5933552"/>
              <a:gd name="connsiteY74" fmla="*/ 1678075 h 1934308"/>
              <a:gd name="connsiteX75" fmla="*/ 0 w 5933552"/>
              <a:gd name="connsiteY75" fmla="*/ 1537398 h 1934308"/>
              <a:gd name="connsiteX76" fmla="*/ 15072 w 5933552"/>
              <a:gd name="connsiteY76" fmla="*/ 1487156 h 1934308"/>
              <a:gd name="connsiteX77" fmla="*/ 15072 w 5933552"/>
              <a:gd name="connsiteY77" fmla="*/ 1431890 h 1934308"/>
              <a:gd name="connsiteX78" fmla="*/ 25121 w 5933552"/>
              <a:gd name="connsiteY78" fmla="*/ 1381648 h 1934308"/>
              <a:gd name="connsiteX79" fmla="*/ 40193 w 5933552"/>
              <a:gd name="connsiteY79" fmla="*/ 1356527 h 1934308"/>
              <a:gd name="connsiteX80" fmla="*/ 65314 w 5933552"/>
              <a:gd name="connsiteY80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507442 w 5933552"/>
              <a:gd name="connsiteY70" fmla="*/ 1833824 h 1934308"/>
              <a:gd name="connsiteX71" fmla="*/ 281354 w 5933552"/>
              <a:gd name="connsiteY71" fmla="*/ 1833824 h 1934308"/>
              <a:gd name="connsiteX72" fmla="*/ 130629 w 5933552"/>
              <a:gd name="connsiteY72" fmla="*/ 1758461 h 1934308"/>
              <a:gd name="connsiteX73" fmla="*/ 10048 w 5933552"/>
              <a:gd name="connsiteY73" fmla="*/ 1678075 h 1934308"/>
              <a:gd name="connsiteX74" fmla="*/ 0 w 5933552"/>
              <a:gd name="connsiteY74" fmla="*/ 1537398 h 1934308"/>
              <a:gd name="connsiteX75" fmla="*/ 15072 w 5933552"/>
              <a:gd name="connsiteY75" fmla="*/ 1487156 h 1934308"/>
              <a:gd name="connsiteX76" fmla="*/ 15072 w 5933552"/>
              <a:gd name="connsiteY76" fmla="*/ 1431890 h 1934308"/>
              <a:gd name="connsiteX77" fmla="*/ 25121 w 5933552"/>
              <a:gd name="connsiteY77" fmla="*/ 1381648 h 1934308"/>
              <a:gd name="connsiteX78" fmla="*/ 40193 w 5933552"/>
              <a:gd name="connsiteY78" fmla="*/ 1356527 h 1934308"/>
              <a:gd name="connsiteX79" fmla="*/ 65314 w 5933552"/>
              <a:gd name="connsiteY79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507442 w 5933552"/>
              <a:gd name="connsiteY69" fmla="*/ 1833824 h 1934308"/>
              <a:gd name="connsiteX70" fmla="*/ 281354 w 5933552"/>
              <a:gd name="connsiteY70" fmla="*/ 1833824 h 1934308"/>
              <a:gd name="connsiteX71" fmla="*/ 130629 w 5933552"/>
              <a:gd name="connsiteY71" fmla="*/ 1758461 h 1934308"/>
              <a:gd name="connsiteX72" fmla="*/ 10048 w 5933552"/>
              <a:gd name="connsiteY72" fmla="*/ 1678075 h 1934308"/>
              <a:gd name="connsiteX73" fmla="*/ 0 w 5933552"/>
              <a:gd name="connsiteY73" fmla="*/ 1537398 h 1934308"/>
              <a:gd name="connsiteX74" fmla="*/ 15072 w 5933552"/>
              <a:gd name="connsiteY74" fmla="*/ 1487156 h 1934308"/>
              <a:gd name="connsiteX75" fmla="*/ 15072 w 5933552"/>
              <a:gd name="connsiteY75" fmla="*/ 1431890 h 1934308"/>
              <a:gd name="connsiteX76" fmla="*/ 25121 w 5933552"/>
              <a:gd name="connsiteY76" fmla="*/ 1381648 h 1934308"/>
              <a:gd name="connsiteX77" fmla="*/ 40193 w 5933552"/>
              <a:gd name="connsiteY77" fmla="*/ 1356527 h 1934308"/>
              <a:gd name="connsiteX78" fmla="*/ 65314 w 5933552"/>
              <a:gd name="connsiteY78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507442 w 5933552"/>
              <a:gd name="connsiteY68" fmla="*/ 1833824 h 1934308"/>
              <a:gd name="connsiteX69" fmla="*/ 281354 w 5933552"/>
              <a:gd name="connsiteY69" fmla="*/ 1833824 h 1934308"/>
              <a:gd name="connsiteX70" fmla="*/ 130629 w 5933552"/>
              <a:gd name="connsiteY70" fmla="*/ 1758461 h 1934308"/>
              <a:gd name="connsiteX71" fmla="*/ 10048 w 5933552"/>
              <a:gd name="connsiteY71" fmla="*/ 1678075 h 1934308"/>
              <a:gd name="connsiteX72" fmla="*/ 0 w 5933552"/>
              <a:gd name="connsiteY72" fmla="*/ 1537398 h 1934308"/>
              <a:gd name="connsiteX73" fmla="*/ 15072 w 5933552"/>
              <a:gd name="connsiteY73" fmla="*/ 1487156 h 1934308"/>
              <a:gd name="connsiteX74" fmla="*/ 15072 w 5933552"/>
              <a:gd name="connsiteY74" fmla="*/ 1431890 h 1934308"/>
              <a:gd name="connsiteX75" fmla="*/ 25121 w 5933552"/>
              <a:gd name="connsiteY75" fmla="*/ 1381648 h 1934308"/>
              <a:gd name="connsiteX76" fmla="*/ 40193 w 5933552"/>
              <a:gd name="connsiteY76" fmla="*/ 1356527 h 1934308"/>
              <a:gd name="connsiteX77" fmla="*/ 65314 w 5933552"/>
              <a:gd name="connsiteY77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562519 w 5933552"/>
              <a:gd name="connsiteY66" fmla="*/ 1462035 h 1934308"/>
              <a:gd name="connsiteX67" fmla="*/ 507442 w 5933552"/>
              <a:gd name="connsiteY67" fmla="*/ 1833824 h 1934308"/>
              <a:gd name="connsiteX68" fmla="*/ 281354 w 5933552"/>
              <a:gd name="connsiteY68" fmla="*/ 1833824 h 1934308"/>
              <a:gd name="connsiteX69" fmla="*/ 130629 w 5933552"/>
              <a:gd name="connsiteY69" fmla="*/ 1758461 h 1934308"/>
              <a:gd name="connsiteX70" fmla="*/ 10048 w 5933552"/>
              <a:gd name="connsiteY70" fmla="*/ 1678075 h 1934308"/>
              <a:gd name="connsiteX71" fmla="*/ 0 w 5933552"/>
              <a:gd name="connsiteY71" fmla="*/ 1537398 h 1934308"/>
              <a:gd name="connsiteX72" fmla="*/ 15072 w 5933552"/>
              <a:gd name="connsiteY72" fmla="*/ 1487156 h 1934308"/>
              <a:gd name="connsiteX73" fmla="*/ 15072 w 5933552"/>
              <a:gd name="connsiteY73" fmla="*/ 1431890 h 1934308"/>
              <a:gd name="connsiteX74" fmla="*/ 25121 w 5933552"/>
              <a:gd name="connsiteY74" fmla="*/ 1381648 h 1934308"/>
              <a:gd name="connsiteX75" fmla="*/ 40193 w 5933552"/>
              <a:gd name="connsiteY75" fmla="*/ 1356527 h 1934308"/>
              <a:gd name="connsiteX76" fmla="*/ 65314 w 5933552"/>
              <a:gd name="connsiteY76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562519 w 5933552"/>
              <a:gd name="connsiteY65" fmla="*/ 1462035 h 1934308"/>
              <a:gd name="connsiteX66" fmla="*/ 507442 w 5933552"/>
              <a:gd name="connsiteY66" fmla="*/ 1833824 h 1934308"/>
              <a:gd name="connsiteX67" fmla="*/ 281354 w 5933552"/>
              <a:gd name="connsiteY67" fmla="*/ 1833824 h 1934308"/>
              <a:gd name="connsiteX68" fmla="*/ 130629 w 5933552"/>
              <a:gd name="connsiteY68" fmla="*/ 1758461 h 1934308"/>
              <a:gd name="connsiteX69" fmla="*/ 10048 w 5933552"/>
              <a:gd name="connsiteY69" fmla="*/ 1678075 h 1934308"/>
              <a:gd name="connsiteX70" fmla="*/ 0 w 5933552"/>
              <a:gd name="connsiteY70" fmla="*/ 1537398 h 1934308"/>
              <a:gd name="connsiteX71" fmla="*/ 15072 w 5933552"/>
              <a:gd name="connsiteY71" fmla="*/ 1487156 h 1934308"/>
              <a:gd name="connsiteX72" fmla="*/ 15072 w 5933552"/>
              <a:gd name="connsiteY72" fmla="*/ 1431890 h 1934308"/>
              <a:gd name="connsiteX73" fmla="*/ 25121 w 5933552"/>
              <a:gd name="connsiteY73" fmla="*/ 1381648 h 1934308"/>
              <a:gd name="connsiteX74" fmla="*/ 40193 w 5933552"/>
              <a:gd name="connsiteY74" fmla="*/ 1356527 h 1934308"/>
              <a:gd name="connsiteX75" fmla="*/ 65314 w 5933552"/>
              <a:gd name="connsiteY75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35380 w 5933552"/>
              <a:gd name="connsiteY62" fmla="*/ 1919235 h 1934308"/>
              <a:gd name="connsiteX63" fmla="*/ 1688123 w 5933552"/>
              <a:gd name="connsiteY63" fmla="*/ 1899138 h 1934308"/>
              <a:gd name="connsiteX64" fmla="*/ 507442 w 5933552"/>
              <a:gd name="connsiteY64" fmla="*/ 1833824 h 1934308"/>
              <a:gd name="connsiteX65" fmla="*/ 281354 w 5933552"/>
              <a:gd name="connsiteY65" fmla="*/ 1833824 h 1934308"/>
              <a:gd name="connsiteX66" fmla="*/ 130629 w 5933552"/>
              <a:gd name="connsiteY66" fmla="*/ 1758461 h 1934308"/>
              <a:gd name="connsiteX67" fmla="*/ 10048 w 5933552"/>
              <a:gd name="connsiteY67" fmla="*/ 1678075 h 1934308"/>
              <a:gd name="connsiteX68" fmla="*/ 0 w 5933552"/>
              <a:gd name="connsiteY68" fmla="*/ 1537398 h 1934308"/>
              <a:gd name="connsiteX69" fmla="*/ 15072 w 5933552"/>
              <a:gd name="connsiteY69" fmla="*/ 1487156 h 1934308"/>
              <a:gd name="connsiteX70" fmla="*/ 15072 w 5933552"/>
              <a:gd name="connsiteY70" fmla="*/ 1431890 h 1934308"/>
              <a:gd name="connsiteX71" fmla="*/ 25121 w 5933552"/>
              <a:gd name="connsiteY71" fmla="*/ 1381648 h 1934308"/>
              <a:gd name="connsiteX72" fmla="*/ 40193 w 5933552"/>
              <a:gd name="connsiteY72" fmla="*/ 1356527 h 1934308"/>
              <a:gd name="connsiteX73" fmla="*/ 65314 w 5933552"/>
              <a:gd name="connsiteY7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919235 h 1934308"/>
              <a:gd name="connsiteX62" fmla="*/ 1688123 w 5933552"/>
              <a:gd name="connsiteY62" fmla="*/ 1899138 h 1934308"/>
              <a:gd name="connsiteX63" fmla="*/ 507442 w 5933552"/>
              <a:gd name="connsiteY63" fmla="*/ 1833824 h 1934308"/>
              <a:gd name="connsiteX64" fmla="*/ 281354 w 5933552"/>
              <a:gd name="connsiteY64" fmla="*/ 1833824 h 1934308"/>
              <a:gd name="connsiteX65" fmla="*/ 130629 w 5933552"/>
              <a:gd name="connsiteY65" fmla="*/ 1758461 h 1934308"/>
              <a:gd name="connsiteX66" fmla="*/ 10048 w 5933552"/>
              <a:gd name="connsiteY66" fmla="*/ 1678075 h 1934308"/>
              <a:gd name="connsiteX67" fmla="*/ 0 w 5933552"/>
              <a:gd name="connsiteY67" fmla="*/ 1537398 h 1934308"/>
              <a:gd name="connsiteX68" fmla="*/ 15072 w 5933552"/>
              <a:gd name="connsiteY68" fmla="*/ 1487156 h 1934308"/>
              <a:gd name="connsiteX69" fmla="*/ 15072 w 5933552"/>
              <a:gd name="connsiteY69" fmla="*/ 1431890 h 1934308"/>
              <a:gd name="connsiteX70" fmla="*/ 25121 w 5933552"/>
              <a:gd name="connsiteY70" fmla="*/ 1381648 h 1934308"/>
              <a:gd name="connsiteX71" fmla="*/ 40193 w 5933552"/>
              <a:gd name="connsiteY71" fmla="*/ 1356527 h 1934308"/>
              <a:gd name="connsiteX72" fmla="*/ 65314 w 5933552"/>
              <a:gd name="connsiteY72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35380 w 5933552"/>
              <a:gd name="connsiteY60" fmla="*/ 1919235 h 1934308"/>
              <a:gd name="connsiteX61" fmla="*/ 1688123 w 5933552"/>
              <a:gd name="connsiteY61" fmla="*/ 1899138 h 1934308"/>
              <a:gd name="connsiteX62" fmla="*/ 507442 w 5933552"/>
              <a:gd name="connsiteY62" fmla="*/ 1833824 h 1934308"/>
              <a:gd name="connsiteX63" fmla="*/ 281354 w 5933552"/>
              <a:gd name="connsiteY63" fmla="*/ 1833824 h 1934308"/>
              <a:gd name="connsiteX64" fmla="*/ 130629 w 5933552"/>
              <a:gd name="connsiteY64" fmla="*/ 1758461 h 1934308"/>
              <a:gd name="connsiteX65" fmla="*/ 10048 w 5933552"/>
              <a:gd name="connsiteY65" fmla="*/ 1678075 h 1934308"/>
              <a:gd name="connsiteX66" fmla="*/ 0 w 5933552"/>
              <a:gd name="connsiteY66" fmla="*/ 1537398 h 1934308"/>
              <a:gd name="connsiteX67" fmla="*/ 15072 w 5933552"/>
              <a:gd name="connsiteY67" fmla="*/ 1487156 h 1934308"/>
              <a:gd name="connsiteX68" fmla="*/ 15072 w 5933552"/>
              <a:gd name="connsiteY68" fmla="*/ 1431890 h 1934308"/>
              <a:gd name="connsiteX69" fmla="*/ 25121 w 5933552"/>
              <a:gd name="connsiteY69" fmla="*/ 1381648 h 1934308"/>
              <a:gd name="connsiteX70" fmla="*/ 40193 w 5933552"/>
              <a:gd name="connsiteY70" fmla="*/ 1356527 h 1934308"/>
              <a:gd name="connsiteX71" fmla="*/ 65314 w 5933552"/>
              <a:gd name="connsiteY71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235380 w 5933552"/>
              <a:gd name="connsiteY59" fmla="*/ 1919235 h 1934308"/>
              <a:gd name="connsiteX60" fmla="*/ 1688123 w 5933552"/>
              <a:gd name="connsiteY60" fmla="*/ 1899138 h 1934308"/>
              <a:gd name="connsiteX61" fmla="*/ 507442 w 5933552"/>
              <a:gd name="connsiteY61" fmla="*/ 1833824 h 1934308"/>
              <a:gd name="connsiteX62" fmla="*/ 281354 w 5933552"/>
              <a:gd name="connsiteY62" fmla="*/ 1833824 h 1934308"/>
              <a:gd name="connsiteX63" fmla="*/ 130629 w 5933552"/>
              <a:gd name="connsiteY63" fmla="*/ 1758461 h 1934308"/>
              <a:gd name="connsiteX64" fmla="*/ 10048 w 5933552"/>
              <a:gd name="connsiteY64" fmla="*/ 1678075 h 1934308"/>
              <a:gd name="connsiteX65" fmla="*/ 0 w 5933552"/>
              <a:gd name="connsiteY65" fmla="*/ 1537398 h 1934308"/>
              <a:gd name="connsiteX66" fmla="*/ 15072 w 5933552"/>
              <a:gd name="connsiteY66" fmla="*/ 1487156 h 1934308"/>
              <a:gd name="connsiteX67" fmla="*/ 15072 w 5933552"/>
              <a:gd name="connsiteY67" fmla="*/ 1431890 h 1934308"/>
              <a:gd name="connsiteX68" fmla="*/ 25121 w 5933552"/>
              <a:gd name="connsiteY68" fmla="*/ 1381648 h 1934308"/>
              <a:gd name="connsiteX69" fmla="*/ 40193 w 5933552"/>
              <a:gd name="connsiteY69" fmla="*/ 1356527 h 1934308"/>
              <a:gd name="connsiteX70" fmla="*/ 65314 w 5933552"/>
              <a:gd name="connsiteY70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235380 w 5933552"/>
              <a:gd name="connsiteY58" fmla="*/ 1919235 h 1934308"/>
              <a:gd name="connsiteX59" fmla="*/ 1688123 w 5933552"/>
              <a:gd name="connsiteY59" fmla="*/ 1899138 h 1934308"/>
              <a:gd name="connsiteX60" fmla="*/ 507442 w 5933552"/>
              <a:gd name="connsiteY60" fmla="*/ 1833824 h 1934308"/>
              <a:gd name="connsiteX61" fmla="*/ 281354 w 5933552"/>
              <a:gd name="connsiteY61" fmla="*/ 1833824 h 1934308"/>
              <a:gd name="connsiteX62" fmla="*/ 130629 w 5933552"/>
              <a:gd name="connsiteY62" fmla="*/ 1758461 h 1934308"/>
              <a:gd name="connsiteX63" fmla="*/ 10048 w 5933552"/>
              <a:gd name="connsiteY63" fmla="*/ 1678075 h 1934308"/>
              <a:gd name="connsiteX64" fmla="*/ 0 w 5933552"/>
              <a:gd name="connsiteY64" fmla="*/ 1537398 h 1934308"/>
              <a:gd name="connsiteX65" fmla="*/ 15072 w 5933552"/>
              <a:gd name="connsiteY65" fmla="*/ 1487156 h 1934308"/>
              <a:gd name="connsiteX66" fmla="*/ 15072 w 5933552"/>
              <a:gd name="connsiteY66" fmla="*/ 1431890 h 1934308"/>
              <a:gd name="connsiteX67" fmla="*/ 25121 w 5933552"/>
              <a:gd name="connsiteY67" fmla="*/ 1381648 h 1934308"/>
              <a:gd name="connsiteX68" fmla="*/ 40193 w 5933552"/>
              <a:gd name="connsiteY68" fmla="*/ 1356527 h 1934308"/>
              <a:gd name="connsiteX69" fmla="*/ 65314 w 5933552"/>
              <a:gd name="connsiteY69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235380 w 5933552"/>
              <a:gd name="connsiteY57" fmla="*/ 1919235 h 1934308"/>
              <a:gd name="connsiteX58" fmla="*/ 1688123 w 5933552"/>
              <a:gd name="connsiteY58" fmla="*/ 1899138 h 1934308"/>
              <a:gd name="connsiteX59" fmla="*/ 507442 w 5933552"/>
              <a:gd name="connsiteY59" fmla="*/ 1833824 h 1934308"/>
              <a:gd name="connsiteX60" fmla="*/ 281354 w 5933552"/>
              <a:gd name="connsiteY60" fmla="*/ 1833824 h 1934308"/>
              <a:gd name="connsiteX61" fmla="*/ 130629 w 5933552"/>
              <a:gd name="connsiteY61" fmla="*/ 1758461 h 1934308"/>
              <a:gd name="connsiteX62" fmla="*/ 10048 w 5933552"/>
              <a:gd name="connsiteY62" fmla="*/ 1678075 h 1934308"/>
              <a:gd name="connsiteX63" fmla="*/ 0 w 5933552"/>
              <a:gd name="connsiteY63" fmla="*/ 1537398 h 1934308"/>
              <a:gd name="connsiteX64" fmla="*/ 15072 w 5933552"/>
              <a:gd name="connsiteY64" fmla="*/ 1487156 h 1934308"/>
              <a:gd name="connsiteX65" fmla="*/ 15072 w 5933552"/>
              <a:gd name="connsiteY65" fmla="*/ 1431890 h 1934308"/>
              <a:gd name="connsiteX66" fmla="*/ 25121 w 5933552"/>
              <a:gd name="connsiteY66" fmla="*/ 1381648 h 1934308"/>
              <a:gd name="connsiteX67" fmla="*/ 40193 w 5933552"/>
              <a:gd name="connsiteY67" fmla="*/ 1356527 h 1934308"/>
              <a:gd name="connsiteX68" fmla="*/ 65314 w 5933552"/>
              <a:gd name="connsiteY68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235380 w 5933552"/>
              <a:gd name="connsiteY56" fmla="*/ 1919235 h 1934308"/>
              <a:gd name="connsiteX57" fmla="*/ 1688123 w 5933552"/>
              <a:gd name="connsiteY57" fmla="*/ 1899138 h 1934308"/>
              <a:gd name="connsiteX58" fmla="*/ 507442 w 5933552"/>
              <a:gd name="connsiteY58" fmla="*/ 1833824 h 1934308"/>
              <a:gd name="connsiteX59" fmla="*/ 281354 w 5933552"/>
              <a:gd name="connsiteY59" fmla="*/ 1833824 h 1934308"/>
              <a:gd name="connsiteX60" fmla="*/ 130629 w 5933552"/>
              <a:gd name="connsiteY60" fmla="*/ 1758461 h 1934308"/>
              <a:gd name="connsiteX61" fmla="*/ 10048 w 5933552"/>
              <a:gd name="connsiteY61" fmla="*/ 1678075 h 1934308"/>
              <a:gd name="connsiteX62" fmla="*/ 0 w 5933552"/>
              <a:gd name="connsiteY62" fmla="*/ 1537398 h 1934308"/>
              <a:gd name="connsiteX63" fmla="*/ 15072 w 5933552"/>
              <a:gd name="connsiteY63" fmla="*/ 1487156 h 1934308"/>
              <a:gd name="connsiteX64" fmla="*/ 15072 w 5933552"/>
              <a:gd name="connsiteY64" fmla="*/ 1431890 h 1934308"/>
              <a:gd name="connsiteX65" fmla="*/ 25121 w 5933552"/>
              <a:gd name="connsiteY65" fmla="*/ 1381648 h 1934308"/>
              <a:gd name="connsiteX66" fmla="*/ 40193 w 5933552"/>
              <a:gd name="connsiteY66" fmla="*/ 1356527 h 1934308"/>
              <a:gd name="connsiteX67" fmla="*/ 65314 w 5933552"/>
              <a:gd name="connsiteY67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235380 w 5933552"/>
              <a:gd name="connsiteY55" fmla="*/ 1919235 h 1934308"/>
              <a:gd name="connsiteX56" fmla="*/ 1688123 w 5933552"/>
              <a:gd name="connsiteY56" fmla="*/ 1899138 h 1934308"/>
              <a:gd name="connsiteX57" fmla="*/ 507442 w 5933552"/>
              <a:gd name="connsiteY57" fmla="*/ 1833824 h 1934308"/>
              <a:gd name="connsiteX58" fmla="*/ 281354 w 5933552"/>
              <a:gd name="connsiteY58" fmla="*/ 1833824 h 1934308"/>
              <a:gd name="connsiteX59" fmla="*/ 130629 w 5933552"/>
              <a:gd name="connsiteY59" fmla="*/ 1758461 h 1934308"/>
              <a:gd name="connsiteX60" fmla="*/ 10048 w 5933552"/>
              <a:gd name="connsiteY60" fmla="*/ 1678075 h 1934308"/>
              <a:gd name="connsiteX61" fmla="*/ 0 w 5933552"/>
              <a:gd name="connsiteY61" fmla="*/ 1537398 h 1934308"/>
              <a:gd name="connsiteX62" fmla="*/ 15072 w 5933552"/>
              <a:gd name="connsiteY62" fmla="*/ 1487156 h 1934308"/>
              <a:gd name="connsiteX63" fmla="*/ 15072 w 5933552"/>
              <a:gd name="connsiteY63" fmla="*/ 1431890 h 1934308"/>
              <a:gd name="connsiteX64" fmla="*/ 25121 w 5933552"/>
              <a:gd name="connsiteY64" fmla="*/ 1381648 h 1934308"/>
              <a:gd name="connsiteX65" fmla="*/ 40193 w 5933552"/>
              <a:gd name="connsiteY65" fmla="*/ 1356527 h 1934308"/>
              <a:gd name="connsiteX66" fmla="*/ 65314 w 5933552"/>
              <a:gd name="connsiteY66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4235380 w 5933552"/>
              <a:gd name="connsiteY54" fmla="*/ 1919235 h 1934308"/>
              <a:gd name="connsiteX55" fmla="*/ 1688123 w 5933552"/>
              <a:gd name="connsiteY55" fmla="*/ 1899138 h 1934308"/>
              <a:gd name="connsiteX56" fmla="*/ 507442 w 5933552"/>
              <a:gd name="connsiteY56" fmla="*/ 1833824 h 1934308"/>
              <a:gd name="connsiteX57" fmla="*/ 281354 w 5933552"/>
              <a:gd name="connsiteY57" fmla="*/ 1833824 h 1934308"/>
              <a:gd name="connsiteX58" fmla="*/ 130629 w 5933552"/>
              <a:gd name="connsiteY58" fmla="*/ 1758461 h 1934308"/>
              <a:gd name="connsiteX59" fmla="*/ 10048 w 5933552"/>
              <a:gd name="connsiteY59" fmla="*/ 1678075 h 1934308"/>
              <a:gd name="connsiteX60" fmla="*/ 0 w 5933552"/>
              <a:gd name="connsiteY60" fmla="*/ 1537398 h 1934308"/>
              <a:gd name="connsiteX61" fmla="*/ 15072 w 5933552"/>
              <a:gd name="connsiteY61" fmla="*/ 1487156 h 1934308"/>
              <a:gd name="connsiteX62" fmla="*/ 15072 w 5933552"/>
              <a:gd name="connsiteY62" fmla="*/ 1431890 h 1934308"/>
              <a:gd name="connsiteX63" fmla="*/ 25121 w 5933552"/>
              <a:gd name="connsiteY63" fmla="*/ 1381648 h 1934308"/>
              <a:gd name="connsiteX64" fmla="*/ 40193 w 5933552"/>
              <a:gd name="connsiteY64" fmla="*/ 1356527 h 1934308"/>
              <a:gd name="connsiteX65" fmla="*/ 65314 w 5933552"/>
              <a:gd name="connsiteY65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4235380 w 5933552"/>
              <a:gd name="connsiteY53" fmla="*/ 1919235 h 1934308"/>
              <a:gd name="connsiteX54" fmla="*/ 1688123 w 5933552"/>
              <a:gd name="connsiteY54" fmla="*/ 1899138 h 1934308"/>
              <a:gd name="connsiteX55" fmla="*/ 507442 w 5933552"/>
              <a:gd name="connsiteY55" fmla="*/ 1833824 h 1934308"/>
              <a:gd name="connsiteX56" fmla="*/ 281354 w 5933552"/>
              <a:gd name="connsiteY56" fmla="*/ 1833824 h 1934308"/>
              <a:gd name="connsiteX57" fmla="*/ 130629 w 5933552"/>
              <a:gd name="connsiteY57" fmla="*/ 1758461 h 1934308"/>
              <a:gd name="connsiteX58" fmla="*/ 10048 w 5933552"/>
              <a:gd name="connsiteY58" fmla="*/ 1678075 h 1934308"/>
              <a:gd name="connsiteX59" fmla="*/ 0 w 5933552"/>
              <a:gd name="connsiteY59" fmla="*/ 1537398 h 1934308"/>
              <a:gd name="connsiteX60" fmla="*/ 15072 w 5933552"/>
              <a:gd name="connsiteY60" fmla="*/ 1487156 h 1934308"/>
              <a:gd name="connsiteX61" fmla="*/ 15072 w 5933552"/>
              <a:gd name="connsiteY61" fmla="*/ 1431890 h 1934308"/>
              <a:gd name="connsiteX62" fmla="*/ 25121 w 5933552"/>
              <a:gd name="connsiteY62" fmla="*/ 1381648 h 1934308"/>
              <a:gd name="connsiteX63" fmla="*/ 40193 w 5933552"/>
              <a:gd name="connsiteY63" fmla="*/ 1356527 h 1934308"/>
              <a:gd name="connsiteX64" fmla="*/ 65314 w 5933552"/>
              <a:gd name="connsiteY6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3029578 w 5933552"/>
              <a:gd name="connsiteY23" fmla="*/ 55266 h 1934308"/>
              <a:gd name="connsiteX24" fmla="*/ 3135086 w 5933552"/>
              <a:gd name="connsiteY24" fmla="*/ 75363 h 1934308"/>
              <a:gd name="connsiteX25" fmla="*/ 3255666 w 5933552"/>
              <a:gd name="connsiteY25" fmla="*/ 95459 h 1934308"/>
              <a:gd name="connsiteX26" fmla="*/ 3542044 w 5933552"/>
              <a:gd name="connsiteY26" fmla="*/ 180870 h 1934308"/>
              <a:gd name="connsiteX27" fmla="*/ 3798277 w 5933552"/>
              <a:gd name="connsiteY27" fmla="*/ 316523 h 1934308"/>
              <a:gd name="connsiteX28" fmla="*/ 4210259 w 5933552"/>
              <a:gd name="connsiteY28" fmla="*/ 542611 h 1934308"/>
              <a:gd name="connsiteX29" fmla="*/ 4340888 w 5933552"/>
              <a:gd name="connsiteY29" fmla="*/ 622998 h 1934308"/>
              <a:gd name="connsiteX30" fmla="*/ 4381081 w 5933552"/>
              <a:gd name="connsiteY30" fmla="*/ 653143 h 1934308"/>
              <a:gd name="connsiteX31" fmla="*/ 4752870 w 5933552"/>
              <a:gd name="connsiteY31" fmla="*/ 683288 h 1934308"/>
              <a:gd name="connsiteX32" fmla="*/ 5164853 w 5933552"/>
              <a:gd name="connsiteY32" fmla="*/ 758650 h 1934308"/>
              <a:gd name="connsiteX33" fmla="*/ 5441182 w 5933552"/>
              <a:gd name="connsiteY33" fmla="*/ 823965 h 1934308"/>
              <a:gd name="connsiteX34" fmla="*/ 5612004 w 5933552"/>
              <a:gd name="connsiteY34" fmla="*/ 899327 h 1934308"/>
              <a:gd name="connsiteX35" fmla="*/ 5807947 w 5933552"/>
              <a:gd name="connsiteY35" fmla="*/ 1045028 h 1934308"/>
              <a:gd name="connsiteX36" fmla="*/ 5823020 w 5933552"/>
              <a:gd name="connsiteY36" fmla="*/ 1115367 h 1934308"/>
              <a:gd name="connsiteX37" fmla="*/ 5838092 w 5933552"/>
              <a:gd name="connsiteY37" fmla="*/ 1215850 h 1934308"/>
              <a:gd name="connsiteX38" fmla="*/ 5823020 w 5933552"/>
              <a:gd name="connsiteY38" fmla="*/ 1245995 h 1934308"/>
              <a:gd name="connsiteX39" fmla="*/ 5863213 w 5933552"/>
              <a:gd name="connsiteY39" fmla="*/ 1296237 h 1934308"/>
              <a:gd name="connsiteX40" fmla="*/ 5893358 w 5933552"/>
              <a:gd name="connsiteY40" fmla="*/ 1356527 h 1934308"/>
              <a:gd name="connsiteX41" fmla="*/ 5893358 w 5933552"/>
              <a:gd name="connsiteY41" fmla="*/ 1431890 h 1934308"/>
              <a:gd name="connsiteX42" fmla="*/ 5928527 w 5933552"/>
              <a:gd name="connsiteY42" fmla="*/ 1492180 h 1934308"/>
              <a:gd name="connsiteX43" fmla="*/ 5918479 w 5933552"/>
              <a:gd name="connsiteY43" fmla="*/ 1602712 h 1934308"/>
              <a:gd name="connsiteX44" fmla="*/ 5898382 w 5933552"/>
              <a:gd name="connsiteY44" fmla="*/ 1683099 h 1934308"/>
              <a:gd name="connsiteX45" fmla="*/ 5918479 w 5933552"/>
              <a:gd name="connsiteY45" fmla="*/ 1773534 h 1934308"/>
              <a:gd name="connsiteX46" fmla="*/ 5933552 w 5933552"/>
              <a:gd name="connsiteY46" fmla="*/ 1808703 h 1934308"/>
              <a:gd name="connsiteX47" fmla="*/ 5812971 w 5933552"/>
              <a:gd name="connsiteY47" fmla="*/ 1868993 h 1934308"/>
              <a:gd name="connsiteX48" fmla="*/ 5812971 w 5933552"/>
              <a:gd name="connsiteY48" fmla="*/ 1868993 h 1934308"/>
              <a:gd name="connsiteX49" fmla="*/ 5727560 w 5933552"/>
              <a:gd name="connsiteY49" fmla="*/ 1929283 h 1934308"/>
              <a:gd name="connsiteX50" fmla="*/ 5390941 w 5933552"/>
              <a:gd name="connsiteY50" fmla="*/ 1934308 h 1934308"/>
              <a:gd name="connsiteX51" fmla="*/ 4235380 w 5933552"/>
              <a:gd name="connsiteY51" fmla="*/ 1919235 h 1934308"/>
              <a:gd name="connsiteX52" fmla="*/ 1688123 w 5933552"/>
              <a:gd name="connsiteY52" fmla="*/ 1899138 h 1934308"/>
              <a:gd name="connsiteX53" fmla="*/ 507442 w 5933552"/>
              <a:gd name="connsiteY53" fmla="*/ 1833824 h 1934308"/>
              <a:gd name="connsiteX54" fmla="*/ 281354 w 5933552"/>
              <a:gd name="connsiteY54" fmla="*/ 1833824 h 1934308"/>
              <a:gd name="connsiteX55" fmla="*/ 130629 w 5933552"/>
              <a:gd name="connsiteY55" fmla="*/ 1758461 h 1934308"/>
              <a:gd name="connsiteX56" fmla="*/ 10048 w 5933552"/>
              <a:gd name="connsiteY56" fmla="*/ 1678075 h 1934308"/>
              <a:gd name="connsiteX57" fmla="*/ 0 w 5933552"/>
              <a:gd name="connsiteY57" fmla="*/ 1537398 h 1934308"/>
              <a:gd name="connsiteX58" fmla="*/ 15072 w 5933552"/>
              <a:gd name="connsiteY58" fmla="*/ 1487156 h 1934308"/>
              <a:gd name="connsiteX59" fmla="*/ 15072 w 5933552"/>
              <a:gd name="connsiteY59" fmla="*/ 1431890 h 1934308"/>
              <a:gd name="connsiteX60" fmla="*/ 25121 w 5933552"/>
              <a:gd name="connsiteY60" fmla="*/ 1381648 h 1934308"/>
              <a:gd name="connsiteX61" fmla="*/ 40193 w 5933552"/>
              <a:gd name="connsiteY61" fmla="*/ 1356527 h 1934308"/>
              <a:gd name="connsiteX62" fmla="*/ 65314 w 5933552"/>
              <a:gd name="connsiteY62" fmla="*/ 1311310 h 1934308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57301 w 5933552"/>
              <a:gd name="connsiteY52" fmla="*/ 1891925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57301 w 5933552"/>
              <a:gd name="connsiteY52" fmla="*/ 1891925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57301 w 5933552"/>
              <a:gd name="connsiteY52" fmla="*/ 1891925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312804 w 5933552"/>
              <a:gd name="connsiteY51" fmla="*/ 1552761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51455 w 5933552"/>
              <a:gd name="connsiteY51" fmla="*/ 1926022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51455 w 5933552"/>
              <a:gd name="connsiteY51" fmla="*/ 1926022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50907"/>
              <a:gd name="connsiteX1" fmla="*/ 75363 w 5933552"/>
              <a:gd name="connsiteY1" fmla="*/ 1083259 h 1950907"/>
              <a:gd name="connsiteX2" fmla="*/ 45218 w 5933552"/>
              <a:gd name="connsiteY2" fmla="*/ 1073210 h 1950907"/>
              <a:gd name="connsiteX3" fmla="*/ 95459 w 5933552"/>
              <a:gd name="connsiteY3" fmla="*/ 887316 h 1950907"/>
              <a:gd name="connsiteX4" fmla="*/ 80387 w 5933552"/>
              <a:gd name="connsiteY4" fmla="*/ 771760 h 1950907"/>
              <a:gd name="connsiteX5" fmla="*/ 85411 w 5933552"/>
              <a:gd name="connsiteY5" fmla="*/ 716494 h 1950907"/>
              <a:gd name="connsiteX6" fmla="*/ 105508 w 5933552"/>
              <a:gd name="connsiteY6" fmla="*/ 696397 h 1950907"/>
              <a:gd name="connsiteX7" fmla="*/ 135653 w 5933552"/>
              <a:gd name="connsiteY7" fmla="*/ 676300 h 1950907"/>
              <a:gd name="connsiteX8" fmla="*/ 467248 w 5933552"/>
              <a:gd name="connsiteY8" fmla="*/ 329632 h 1950907"/>
              <a:gd name="connsiteX9" fmla="*/ 472272 w 5933552"/>
              <a:gd name="connsiteY9" fmla="*/ 284415 h 1950907"/>
              <a:gd name="connsiteX10" fmla="*/ 442127 w 5933552"/>
              <a:gd name="connsiteY10" fmla="*/ 259294 h 1950907"/>
              <a:gd name="connsiteX11" fmla="*/ 406958 w 5933552"/>
              <a:gd name="connsiteY11" fmla="*/ 229149 h 1950907"/>
              <a:gd name="connsiteX12" fmla="*/ 406958 w 5933552"/>
              <a:gd name="connsiteY12" fmla="*/ 204028 h 1950907"/>
              <a:gd name="connsiteX13" fmla="*/ 462224 w 5933552"/>
              <a:gd name="connsiteY13" fmla="*/ 193980 h 1950907"/>
              <a:gd name="connsiteX14" fmla="*/ 864158 w 5933552"/>
              <a:gd name="connsiteY14" fmla="*/ 143738 h 1950907"/>
              <a:gd name="connsiteX15" fmla="*/ 999811 w 5933552"/>
              <a:gd name="connsiteY15" fmla="*/ 88472 h 1950907"/>
              <a:gd name="connsiteX16" fmla="*/ 1024932 w 5933552"/>
              <a:gd name="connsiteY16" fmla="*/ 78424 h 1950907"/>
              <a:gd name="connsiteX17" fmla="*/ 999811 w 5933552"/>
              <a:gd name="connsiteY17" fmla="*/ 28182 h 1950907"/>
              <a:gd name="connsiteX18" fmla="*/ 1070149 w 5933552"/>
              <a:gd name="connsiteY18" fmla="*/ 33206 h 1950907"/>
              <a:gd name="connsiteX19" fmla="*/ 1130439 w 5933552"/>
              <a:gd name="connsiteY19" fmla="*/ 53303 h 1950907"/>
              <a:gd name="connsiteX20" fmla="*/ 1160585 w 5933552"/>
              <a:gd name="connsiteY20" fmla="*/ 63351 h 1950907"/>
              <a:gd name="connsiteX21" fmla="*/ 1683099 w 5933552"/>
              <a:gd name="connsiteY21" fmla="*/ 13109 h 1950907"/>
              <a:gd name="connsiteX22" fmla="*/ 2306097 w 5933552"/>
              <a:gd name="connsiteY22" fmla="*/ 3061 h 1950907"/>
              <a:gd name="connsiteX23" fmla="*/ 3029578 w 5933552"/>
              <a:gd name="connsiteY23" fmla="*/ 58327 h 1950907"/>
              <a:gd name="connsiteX24" fmla="*/ 3135086 w 5933552"/>
              <a:gd name="connsiteY24" fmla="*/ 78424 h 1950907"/>
              <a:gd name="connsiteX25" fmla="*/ 3255666 w 5933552"/>
              <a:gd name="connsiteY25" fmla="*/ 98520 h 1950907"/>
              <a:gd name="connsiteX26" fmla="*/ 3542044 w 5933552"/>
              <a:gd name="connsiteY26" fmla="*/ 183931 h 1950907"/>
              <a:gd name="connsiteX27" fmla="*/ 3798277 w 5933552"/>
              <a:gd name="connsiteY27" fmla="*/ 319584 h 1950907"/>
              <a:gd name="connsiteX28" fmla="*/ 4210259 w 5933552"/>
              <a:gd name="connsiteY28" fmla="*/ 545672 h 1950907"/>
              <a:gd name="connsiteX29" fmla="*/ 4340888 w 5933552"/>
              <a:gd name="connsiteY29" fmla="*/ 626059 h 1950907"/>
              <a:gd name="connsiteX30" fmla="*/ 4381081 w 5933552"/>
              <a:gd name="connsiteY30" fmla="*/ 656204 h 1950907"/>
              <a:gd name="connsiteX31" fmla="*/ 4752870 w 5933552"/>
              <a:gd name="connsiteY31" fmla="*/ 686349 h 1950907"/>
              <a:gd name="connsiteX32" fmla="*/ 5164853 w 5933552"/>
              <a:gd name="connsiteY32" fmla="*/ 761711 h 1950907"/>
              <a:gd name="connsiteX33" fmla="*/ 5441182 w 5933552"/>
              <a:gd name="connsiteY33" fmla="*/ 827026 h 1950907"/>
              <a:gd name="connsiteX34" fmla="*/ 5612004 w 5933552"/>
              <a:gd name="connsiteY34" fmla="*/ 902388 h 1950907"/>
              <a:gd name="connsiteX35" fmla="*/ 5807947 w 5933552"/>
              <a:gd name="connsiteY35" fmla="*/ 1048089 h 1950907"/>
              <a:gd name="connsiteX36" fmla="*/ 5823020 w 5933552"/>
              <a:gd name="connsiteY36" fmla="*/ 1118428 h 1950907"/>
              <a:gd name="connsiteX37" fmla="*/ 5838092 w 5933552"/>
              <a:gd name="connsiteY37" fmla="*/ 1218911 h 1950907"/>
              <a:gd name="connsiteX38" fmla="*/ 5823020 w 5933552"/>
              <a:gd name="connsiteY38" fmla="*/ 1249056 h 1950907"/>
              <a:gd name="connsiteX39" fmla="*/ 5863213 w 5933552"/>
              <a:gd name="connsiteY39" fmla="*/ 1299298 h 1950907"/>
              <a:gd name="connsiteX40" fmla="*/ 5893358 w 5933552"/>
              <a:gd name="connsiteY40" fmla="*/ 1359588 h 1950907"/>
              <a:gd name="connsiteX41" fmla="*/ 5893358 w 5933552"/>
              <a:gd name="connsiteY41" fmla="*/ 1434951 h 1950907"/>
              <a:gd name="connsiteX42" fmla="*/ 5928527 w 5933552"/>
              <a:gd name="connsiteY42" fmla="*/ 1495241 h 1950907"/>
              <a:gd name="connsiteX43" fmla="*/ 5918479 w 5933552"/>
              <a:gd name="connsiteY43" fmla="*/ 1605773 h 1950907"/>
              <a:gd name="connsiteX44" fmla="*/ 5898382 w 5933552"/>
              <a:gd name="connsiteY44" fmla="*/ 1686160 h 1950907"/>
              <a:gd name="connsiteX45" fmla="*/ 5918479 w 5933552"/>
              <a:gd name="connsiteY45" fmla="*/ 1776595 h 1950907"/>
              <a:gd name="connsiteX46" fmla="*/ 5933552 w 5933552"/>
              <a:gd name="connsiteY46" fmla="*/ 1811764 h 1950907"/>
              <a:gd name="connsiteX47" fmla="*/ 5812971 w 5933552"/>
              <a:gd name="connsiteY47" fmla="*/ 1872054 h 1950907"/>
              <a:gd name="connsiteX48" fmla="*/ 5812971 w 5933552"/>
              <a:gd name="connsiteY48" fmla="*/ 1872054 h 1950907"/>
              <a:gd name="connsiteX49" fmla="*/ 5727560 w 5933552"/>
              <a:gd name="connsiteY49" fmla="*/ 1932344 h 1950907"/>
              <a:gd name="connsiteX50" fmla="*/ 5390941 w 5933552"/>
              <a:gd name="connsiteY50" fmla="*/ 1937369 h 1950907"/>
              <a:gd name="connsiteX51" fmla="*/ 5241231 w 5933552"/>
              <a:gd name="connsiteY51" fmla="*/ 1950907 h 1950907"/>
              <a:gd name="connsiteX52" fmla="*/ 4235380 w 5933552"/>
              <a:gd name="connsiteY52" fmla="*/ 1922296 h 1950907"/>
              <a:gd name="connsiteX53" fmla="*/ 1657301 w 5933552"/>
              <a:gd name="connsiteY53" fmla="*/ 1891925 h 1950907"/>
              <a:gd name="connsiteX54" fmla="*/ 507442 w 5933552"/>
              <a:gd name="connsiteY54" fmla="*/ 1836885 h 1950907"/>
              <a:gd name="connsiteX55" fmla="*/ 281354 w 5933552"/>
              <a:gd name="connsiteY55" fmla="*/ 1836885 h 1950907"/>
              <a:gd name="connsiteX56" fmla="*/ 130629 w 5933552"/>
              <a:gd name="connsiteY56" fmla="*/ 1761522 h 1950907"/>
              <a:gd name="connsiteX57" fmla="*/ 10048 w 5933552"/>
              <a:gd name="connsiteY57" fmla="*/ 1681136 h 1950907"/>
              <a:gd name="connsiteX58" fmla="*/ 0 w 5933552"/>
              <a:gd name="connsiteY58" fmla="*/ 1540459 h 1950907"/>
              <a:gd name="connsiteX59" fmla="*/ 15072 w 5933552"/>
              <a:gd name="connsiteY59" fmla="*/ 1490217 h 1950907"/>
              <a:gd name="connsiteX60" fmla="*/ 15072 w 5933552"/>
              <a:gd name="connsiteY60" fmla="*/ 1434951 h 1950907"/>
              <a:gd name="connsiteX61" fmla="*/ 25121 w 5933552"/>
              <a:gd name="connsiteY61" fmla="*/ 1384709 h 1950907"/>
              <a:gd name="connsiteX62" fmla="*/ 40193 w 5933552"/>
              <a:gd name="connsiteY62" fmla="*/ 1359588 h 1950907"/>
              <a:gd name="connsiteX63" fmla="*/ 65314 w 5933552"/>
              <a:gd name="connsiteY63" fmla="*/ 1314371 h 1950907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46343 w 5933552"/>
              <a:gd name="connsiteY51" fmla="*/ 1935977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46343 w 5933552"/>
              <a:gd name="connsiteY51" fmla="*/ 1935977 h 1937369"/>
              <a:gd name="connsiteX52" fmla="*/ 4373414 w 5933552"/>
              <a:gd name="connsiteY52" fmla="*/ 1917320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2179673"/>
              <a:gd name="connsiteX1" fmla="*/ 75363 w 5933552"/>
              <a:gd name="connsiteY1" fmla="*/ 1083259 h 2179673"/>
              <a:gd name="connsiteX2" fmla="*/ 45218 w 5933552"/>
              <a:gd name="connsiteY2" fmla="*/ 1073210 h 2179673"/>
              <a:gd name="connsiteX3" fmla="*/ 95459 w 5933552"/>
              <a:gd name="connsiteY3" fmla="*/ 887316 h 2179673"/>
              <a:gd name="connsiteX4" fmla="*/ 80387 w 5933552"/>
              <a:gd name="connsiteY4" fmla="*/ 771760 h 2179673"/>
              <a:gd name="connsiteX5" fmla="*/ 85411 w 5933552"/>
              <a:gd name="connsiteY5" fmla="*/ 716494 h 2179673"/>
              <a:gd name="connsiteX6" fmla="*/ 105508 w 5933552"/>
              <a:gd name="connsiteY6" fmla="*/ 696397 h 2179673"/>
              <a:gd name="connsiteX7" fmla="*/ 135653 w 5933552"/>
              <a:gd name="connsiteY7" fmla="*/ 676300 h 2179673"/>
              <a:gd name="connsiteX8" fmla="*/ 467248 w 5933552"/>
              <a:gd name="connsiteY8" fmla="*/ 329632 h 2179673"/>
              <a:gd name="connsiteX9" fmla="*/ 472272 w 5933552"/>
              <a:gd name="connsiteY9" fmla="*/ 284415 h 2179673"/>
              <a:gd name="connsiteX10" fmla="*/ 442127 w 5933552"/>
              <a:gd name="connsiteY10" fmla="*/ 259294 h 2179673"/>
              <a:gd name="connsiteX11" fmla="*/ 406958 w 5933552"/>
              <a:gd name="connsiteY11" fmla="*/ 229149 h 2179673"/>
              <a:gd name="connsiteX12" fmla="*/ 406958 w 5933552"/>
              <a:gd name="connsiteY12" fmla="*/ 204028 h 2179673"/>
              <a:gd name="connsiteX13" fmla="*/ 462224 w 5933552"/>
              <a:gd name="connsiteY13" fmla="*/ 193980 h 2179673"/>
              <a:gd name="connsiteX14" fmla="*/ 864158 w 5933552"/>
              <a:gd name="connsiteY14" fmla="*/ 143738 h 2179673"/>
              <a:gd name="connsiteX15" fmla="*/ 999811 w 5933552"/>
              <a:gd name="connsiteY15" fmla="*/ 88472 h 2179673"/>
              <a:gd name="connsiteX16" fmla="*/ 1024932 w 5933552"/>
              <a:gd name="connsiteY16" fmla="*/ 78424 h 2179673"/>
              <a:gd name="connsiteX17" fmla="*/ 999811 w 5933552"/>
              <a:gd name="connsiteY17" fmla="*/ 28182 h 2179673"/>
              <a:gd name="connsiteX18" fmla="*/ 1070149 w 5933552"/>
              <a:gd name="connsiteY18" fmla="*/ 33206 h 2179673"/>
              <a:gd name="connsiteX19" fmla="*/ 1130439 w 5933552"/>
              <a:gd name="connsiteY19" fmla="*/ 53303 h 2179673"/>
              <a:gd name="connsiteX20" fmla="*/ 1160585 w 5933552"/>
              <a:gd name="connsiteY20" fmla="*/ 63351 h 2179673"/>
              <a:gd name="connsiteX21" fmla="*/ 1683099 w 5933552"/>
              <a:gd name="connsiteY21" fmla="*/ 13109 h 2179673"/>
              <a:gd name="connsiteX22" fmla="*/ 2306097 w 5933552"/>
              <a:gd name="connsiteY22" fmla="*/ 3061 h 2179673"/>
              <a:gd name="connsiteX23" fmla="*/ 3029578 w 5933552"/>
              <a:gd name="connsiteY23" fmla="*/ 58327 h 2179673"/>
              <a:gd name="connsiteX24" fmla="*/ 3135086 w 5933552"/>
              <a:gd name="connsiteY24" fmla="*/ 78424 h 2179673"/>
              <a:gd name="connsiteX25" fmla="*/ 3255666 w 5933552"/>
              <a:gd name="connsiteY25" fmla="*/ 98520 h 2179673"/>
              <a:gd name="connsiteX26" fmla="*/ 3542044 w 5933552"/>
              <a:gd name="connsiteY26" fmla="*/ 183931 h 2179673"/>
              <a:gd name="connsiteX27" fmla="*/ 3798277 w 5933552"/>
              <a:gd name="connsiteY27" fmla="*/ 319584 h 2179673"/>
              <a:gd name="connsiteX28" fmla="*/ 4210259 w 5933552"/>
              <a:gd name="connsiteY28" fmla="*/ 545672 h 2179673"/>
              <a:gd name="connsiteX29" fmla="*/ 4340888 w 5933552"/>
              <a:gd name="connsiteY29" fmla="*/ 626059 h 2179673"/>
              <a:gd name="connsiteX30" fmla="*/ 4381081 w 5933552"/>
              <a:gd name="connsiteY30" fmla="*/ 656204 h 2179673"/>
              <a:gd name="connsiteX31" fmla="*/ 4752870 w 5933552"/>
              <a:gd name="connsiteY31" fmla="*/ 686349 h 2179673"/>
              <a:gd name="connsiteX32" fmla="*/ 5164853 w 5933552"/>
              <a:gd name="connsiteY32" fmla="*/ 761711 h 2179673"/>
              <a:gd name="connsiteX33" fmla="*/ 5441182 w 5933552"/>
              <a:gd name="connsiteY33" fmla="*/ 827026 h 2179673"/>
              <a:gd name="connsiteX34" fmla="*/ 5612004 w 5933552"/>
              <a:gd name="connsiteY34" fmla="*/ 902388 h 2179673"/>
              <a:gd name="connsiteX35" fmla="*/ 5807947 w 5933552"/>
              <a:gd name="connsiteY35" fmla="*/ 1048089 h 2179673"/>
              <a:gd name="connsiteX36" fmla="*/ 5823020 w 5933552"/>
              <a:gd name="connsiteY36" fmla="*/ 1118428 h 2179673"/>
              <a:gd name="connsiteX37" fmla="*/ 5838092 w 5933552"/>
              <a:gd name="connsiteY37" fmla="*/ 1218911 h 2179673"/>
              <a:gd name="connsiteX38" fmla="*/ 5823020 w 5933552"/>
              <a:gd name="connsiteY38" fmla="*/ 1249056 h 2179673"/>
              <a:gd name="connsiteX39" fmla="*/ 5863213 w 5933552"/>
              <a:gd name="connsiteY39" fmla="*/ 1299298 h 2179673"/>
              <a:gd name="connsiteX40" fmla="*/ 5893358 w 5933552"/>
              <a:gd name="connsiteY40" fmla="*/ 1359588 h 2179673"/>
              <a:gd name="connsiteX41" fmla="*/ 5893358 w 5933552"/>
              <a:gd name="connsiteY41" fmla="*/ 1434951 h 2179673"/>
              <a:gd name="connsiteX42" fmla="*/ 5928527 w 5933552"/>
              <a:gd name="connsiteY42" fmla="*/ 1495241 h 2179673"/>
              <a:gd name="connsiteX43" fmla="*/ 5918479 w 5933552"/>
              <a:gd name="connsiteY43" fmla="*/ 1605773 h 2179673"/>
              <a:gd name="connsiteX44" fmla="*/ 5898382 w 5933552"/>
              <a:gd name="connsiteY44" fmla="*/ 1686160 h 2179673"/>
              <a:gd name="connsiteX45" fmla="*/ 5918479 w 5933552"/>
              <a:gd name="connsiteY45" fmla="*/ 1776595 h 2179673"/>
              <a:gd name="connsiteX46" fmla="*/ 5933552 w 5933552"/>
              <a:gd name="connsiteY46" fmla="*/ 1811764 h 2179673"/>
              <a:gd name="connsiteX47" fmla="*/ 5812971 w 5933552"/>
              <a:gd name="connsiteY47" fmla="*/ 1872054 h 2179673"/>
              <a:gd name="connsiteX48" fmla="*/ 5812971 w 5933552"/>
              <a:gd name="connsiteY48" fmla="*/ 1872054 h 2179673"/>
              <a:gd name="connsiteX49" fmla="*/ 5727560 w 5933552"/>
              <a:gd name="connsiteY49" fmla="*/ 1932344 h 2179673"/>
              <a:gd name="connsiteX50" fmla="*/ 5390941 w 5933552"/>
              <a:gd name="connsiteY50" fmla="*/ 1937369 h 2179673"/>
              <a:gd name="connsiteX51" fmla="*/ 5246343 w 5933552"/>
              <a:gd name="connsiteY51" fmla="*/ 1935977 h 2179673"/>
              <a:gd name="connsiteX52" fmla="*/ 4373414 w 5933552"/>
              <a:gd name="connsiteY52" fmla="*/ 1917320 h 2179673"/>
              <a:gd name="connsiteX53" fmla="*/ 1657301 w 5933552"/>
              <a:gd name="connsiteY53" fmla="*/ 1891925 h 2179673"/>
              <a:gd name="connsiteX54" fmla="*/ 507442 w 5933552"/>
              <a:gd name="connsiteY54" fmla="*/ 1836885 h 2179673"/>
              <a:gd name="connsiteX55" fmla="*/ 281354 w 5933552"/>
              <a:gd name="connsiteY55" fmla="*/ 1836885 h 2179673"/>
              <a:gd name="connsiteX56" fmla="*/ 130629 w 5933552"/>
              <a:gd name="connsiteY56" fmla="*/ 1761522 h 2179673"/>
              <a:gd name="connsiteX57" fmla="*/ 10048 w 5933552"/>
              <a:gd name="connsiteY57" fmla="*/ 1681136 h 2179673"/>
              <a:gd name="connsiteX58" fmla="*/ 0 w 5933552"/>
              <a:gd name="connsiteY58" fmla="*/ 1540459 h 2179673"/>
              <a:gd name="connsiteX59" fmla="*/ 15072 w 5933552"/>
              <a:gd name="connsiteY59" fmla="*/ 1490217 h 2179673"/>
              <a:gd name="connsiteX60" fmla="*/ 15072 w 5933552"/>
              <a:gd name="connsiteY60" fmla="*/ 1434951 h 2179673"/>
              <a:gd name="connsiteX61" fmla="*/ 25121 w 5933552"/>
              <a:gd name="connsiteY61" fmla="*/ 1384709 h 2179673"/>
              <a:gd name="connsiteX62" fmla="*/ 40193 w 5933552"/>
              <a:gd name="connsiteY62" fmla="*/ 1359588 h 2179673"/>
              <a:gd name="connsiteX63" fmla="*/ 65314 w 5933552"/>
              <a:gd name="connsiteY63" fmla="*/ 1314371 h 2179673"/>
              <a:gd name="connsiteX0" fmla="*/ 65314 w 5933552"/>
              <a:gd name="connsiteY0" fmla="*/ 1314371 h 2243073"/>
              <a:gd name="connsiteX1" fmla="*/ 75363 w 5933552"/>
              <a:gd name="connsiteY1" fmla="*/ 1083259 h 2243073"/>
              <a:gd name="connsiteX2" fmla="*/ 45218 w 5933552"/>
              <a:gd name="connsiteY2" fmla="*/ 1073210 h 2243073"/>
              <a:gd name="connsiteX3" fmla="*/ 95459 w 5933552"/>
              <a:gd name="connsiteY3" fmla="*/ 887316 h 2243073"/>
              <a:gd name="connsiteX4" fmla="*/ 80387 w 5933552"/>
              <a:gd name="connsiteY4" fmla="*/ 771760 h 2243073"/>
              <a:gd name="connsiteX5" fmla="*/ 85411 w 5933552"/>
              <a:gd name="connsiteY5" fmla="*/ 716494 h 2243073"/>
              <a:gd name="connsiteX6" fmla="*/ 105508 w 5933552"/>
              <a:gd name="connsiteY6" fmla="*/ 696397 h 2243073"/>
              <a:gd name="connsiteX7" fmla="*/ 135653 w 5933552"/>
              <a:gd name="connsiteY7" fmla="*/ 676300 h 2243073"/>
              <a:gd name="connsiteX8" fmla="*/ 467248 w 5933552"/>
              <a:gd name="connsiteY8" fmla="*/ 329632 h 2243073"/>
              <a:gd name="connsiteX9" fmla="*/ 472272 w 5933552"/>
              <a:gd name="connsiteY9" fmla="*/ 284415 h 2243073"/>
              <a:gd name="connsiteX10" fmla="*/ 442127 w 5933552"/>
              <a:gd name="connsiteY10" fmla="*/ 259294 h 2243073"/>
              <a:gd name="connsiteX11" fmla="*/ 406958 w 5933552"/>
              <a:gd name="connsiteY11" fmla="*/ 229149 h 2243073"/>
              <a:gd name="connsiteX12" fmla="*/ 406958 w 5933552"/>
              <a:gd name="connsiteY12" fmla="*/ 204028 h 2243073"/>
              <a:gd name="connsiteX13" fmla="*/ 462224 w 5933552"/>
              <a:gd name="connsiteY13" fmla="*/ 193980 h 2243073"/>
              <a:gd name="connsiteX14" fmla="*/ 864158 w 5933552"/>
              <a:gd name="connsiteY14" fmla="*/ 143738 h 2243073"/>
              <a:gd name="connsiteX15" fmla="*/ 999811 w 5933552"/>
              <a:gd name="connsiteY15" fmla="*/ 88472 h 2243073"/>
              <a:gd name="connsiteX16" fmla="*/ 1024932 w 5933552"/>
              <a:gd name="connsiteY16" fmla="*/ 78424 h 2243073"/>
              <a:gd name="connsiteX17" fmla="*/ 999811 w 5933552"/>
              <a:gd name="connsiteY17" fmla="*/ 28182 h 2243073"/>
              <a:gd name="connsiteX18" fmla="*/ 1070149 w 5933552"/>
              <a:gd name="connsiteY18" fmla="*/ 33206 h 2243073"/>
              <a:gd name="connsiteX19" fmla="*/ 1130439 w 5933552"/>
              <a:gd name="connsiteY19" fmla="*/ 53303 h 2243073"/>
              <a:gd name="connsiteX20" fmla="*/ 1160585 w 5933552"/>
              <a:gd name="connsiteY20" fmla="*/ 63351 h 2243073"/>
              <a:gd name="connsiteX21" fmla="*/ 1683099 w 5933552"/>
              <a:gd name="connsiteY21" fmla="*/ 13109 h 2243073"/>
              <a:gd name="connsiteX22" fmla="*/ 2306097 w 5933552"/>
              <a:gd name="connsiteY22" fmla="*/ 3061 h 2243073"/>
              <a:gd name="connsiteX23" fmla="*/ 3029578 w 5933552"/>
              <a:gd name="connsiteY23" fmla="*/ 58327 h 2243073"/>
              <a:gd name="connsiteX24" fmla="*/ 3135086 w 5933552"/>
              <a:gd name="connsiteY24" fmla="*/ 78424 h 2243073"/>
              <a:gd name="connsiteX25" fmla="*/ 3255666 w 5933552"/>
              <a:gd name="connsiteY25" fmla="*/ 98520 h 2243073"/>
              <a:gd name="connsiteX26" fmla="*/ 3542044 w 5933552"/>
              <a:gd name="connsiteY26" fmla="*/ 183931 h 2243073"/>
              <a:gd name="connsiteX27" fmla="*/ 3798277 w 5933552"/>
              <a:gd name="connsiteY27" fmla="*/ 319584 h 2243073"/>
              <a:gd name="connsiteX28" fmla="*/ 4210259 w 5933552"/>
              <a:gd name="connsiteY28" fmla="*/ 545672 h 2243073"/>
              <a:gd name="connsiteX29" fmla="*/ 4340888 w 5933552"/>
              <a:gd name="connsiteY29" fmla="*/ 626059 h 2243073"/>
              <a:gd name="connsiteX30" fmla="*/ 4381081 w 5933552"/>
              <a:gd name="connsiteY30" fmla="*/ 656204 h 2243073"/>
              <a:gd name="connsiteX31" fmla="*/ 4752870 w 5933552"/>
              <a:gd name="connsiteY31" fmla="*/ 686349 h 2243073"/>
              <a:gd name="connsiteX32" fmla="*/ 5164853 w 5933552"/>
              <a:gd name="connsiteY32" fmla="*/ 761711 h 2243073"/>
              <a:gd name="connsiteX33" fmla="*/ 5441182 w 5933552"/>
              <a:gd name="connsiteY33" fmla="*/ 827026 h 2243073"/>
              <a:gd name="connsiteX34" fmla="*/ 5612004 w 5933552"/>
              <a:gd name="connsiteY34" fmla="*/ 902388 h 2243073"/>
              <a:gd name="connsiteX35" fmla="*/ 5807947 w 5933552"/>
              <a:gd name="connsiteY35" fmla="*/ 1048089 h 2243073"/>
              <a:gd name="connsiteX36" fmla="*/ 5823020 w 5933552"/>
              <a:gd name="connsiteY36" fmla="*/ 1118428 h 2243073"/>
              <a:gd name="connsiteX37" fmla="*/ 5838092 w 5933552"/>
              <a:gd name="connsiteY37" fmla="*/ 1218911 h 2243073"/>
              <a:gd name="connsiteX38" fmla="*/ 5823020 w 5933552"/>
              <a:gd name="connsiteY38" fmla="*/ 1249056 h 2243073"/>
              <a:gd name="connsiteX39" fmla="*/ 5863213 w 5933552"/>
              <a:gd name="connsiteY39" fmla="*/ 1299298 h 2243073"/>
              <a:gd name="connsiteX40" fmla="*/ 5893358 w 5933552"/>
              <a:gd name="connsiteY40" fmla="*/ 1359588 h 2243073"/>
              <a:gd name="connsiteX41" fmla="*/ 5893358 w 5933552"/>
              <a:gd name="connsiteY41" fmla="*/ 1434951 h 2243073"/>
              <a:gd name="connsiteX42" fmla="*/ 5928527 w 5933552"/>
              <a:gd name="connsiteY42" fmla="*/ 1495241 h 2243073"/>
              <a:gd name="connsiteX43" fmla="*/ 5918479 w 5933552"/>
              <a:gd name="connsiteY43" fmla="*/ 1605773 h 2243073"/>
              <a:gd name="connsiteX44" fmla="*/ 5898382 w 5933552"/>
              <a:gd name="connsiteY44" fmla="*/ 1686160 h 2243073"/>
              <a:gd name="connsiteX45" fmla="*/ 5918479 w 5933552"/>
              <a:gd name="connsiteY45" fmla="*/ 1776595 h 2243073"/>
              <a:gd name="connsiteX46" fmla="*/ 5933552 w 5933552"/>
              <a:gd name="connsiteY46" fmla="*/ 1811764 h 2243073"/>
              <a:gd name="connsiteX47" fmla="*/ 5812971 w 5933552"/>
              <a:gd name="connsiteY47" fmla="*/ 1872054 h 2243073"/>
              <a:gd name="connsiteX48" fmla="*/ 5812971 w 5933552"/>
              <a:gd name="connsiteY48" fmla="*/ 1872054 h 2243073"/>
              <a:gd name="connsiteX49" fmla="*/ 5727560 w 5933552"/>
              <a:gd name="connsiteY49" fmla="*/ 1932344 h 2243073"/>
              <a:gd name="connsiteX50" fmla="*/ 5390941 w 5933552"/>
              <a:gd name="connsiteY50" fmla="*/ 1937369 h 2243073"/>
              <a:gd name="connsiteX51" fmla="*/ 5246343 w 5933552"/>
              <a:gd name="connsiteY51" fmla="*/ 1935977 h 2243073"/>
              <a:gd name="connsiteX52" fmla="*/ 4373414 w 5933552"/>
              <a:gd name="connsiteY52" fmla="*/ 1917320 h 2243073"/>
              <a:gd name="connsiteX53" fmla="*/ 1657301 w 5933552"/>
              <a:gd name="connsiteY53" fmla="*/ 1891925 h 2243073"/>
              <a:gd name="connsiteX54" fmla="*/ 507442 w 5933552"/>
              <a:gd name="connsiteY54" fmla="*/ 1836885 h 2243073"/>
              <a:gd name="connsiteX55" fmla="*/ 281354 w 5933552"/>
              <a:gd name="connsiteY55" fmla="*/ 1836885 h 2243073"/>
              <a:gd name="connsiteX56" fmla="*/ 130629 w 5933552"/>
              <a:gd name="connsiteY56" fmla="*/ 1761522 h 2243073"/>
              <a:gd name="connsiteX57" fmla="*/ 10048 w 5933552"/>
              <a:gd name="connsiteY57" fmla="*/ 1681136 h 2243073"/>
              <a:gd name="connsiteX58" fmla="*/ 0 w 5933552"/>
              <a:gd name="connsiteY58" fmla="*/ 1540459 h 2243073"/>
              <a:gd name="connsiteX59" fmla="*/ 15072 w 5933552"/>
              <a:gd name="connsiteY59" fmla="*/ 1490217 h 2243073"/>
              <a:gd name="connsiteX60" fmla="*/ 15072 w 5933552"/>
              <a:gd name="connsiteY60" fmla="*/ 1434951 h 2243073"/>
              <a:gd name="connsiteX61" fmla="*/ 25121 w 5933552"/>
              <a:gd name="connsiteY61" fmla="*/ 1384709 h 2243073"/>
              <a:gd name="connsiteX62" fmla="*/ 40193 w 5933552"/>
              <a:gd name="connsiteY62" fmla="*/ 1359588 h 2243073"/>
              <a:gd name="connsiteX63" fmla="*/ 65314 w 5933552"/>
              <a:gd name="connsiteY63" fmla="*/ 1314371 h 2243073"/>
              <a:gd name="connsiteX0" fmla="*/ 65314 w 5933552"/>
              <a:gd name="connsiteY0" fmla="*/ 1314371 h 2243073"/>
              <a:gd name="connsiteX1" fmla="*/ 75363 w 5933552"/>
              <a:gd name="connsiteY1" fmla="*/ 1083259 h 2243073"/>
              <a:gd name="connsiteX2" fmla="*/ 45218 w 5933552"/>
              <a:gd name="connsiteY2" fmla="*/ 1073210 h 2243073"/>
              <a:gd name="connsiteX3" fmla="*/ 95459 w 5933552"/>
              <a:gd name="connsiteY3" fmla="*/ 887316 h 2243073"/>
              <a:gd name="connsiteX4" fmla="*/ 80387 w 5933552"/>
              <a:gd name="connsiteY4" fmla="*/ 771760 h 2243073"/>
              <a:gd name="connsiteX5" fmla="*/ 85411 w 5933552"/>
              <a:gd name="connsiteY5" fmla="*/ 716494 h 2243073"/>
              <a:gd name="connsiteX6" fmla="*/ 105508 w 5933552"/>
              <a:gd name="connsiteY6" fmla="*/ 696397 h 2243073"/>
              <a:gd name="connsiteX7" fmla="*/ 135653 w 5933552"/>
              <a:gd name="connsiteY7" fmla="*/ 676300 h 2243073"/>
              <a:gd name="connsiteX8" fmla="*/ 467248 w 5933552"/>
              <a:gd name="connsiteY8" fmla="*/ 329632 h 2243073"/>
              <a:gd name="connsiteX9" fmla="*/ 472272 w 5933552"/>
              <a:gd name="connsiteY9" fmla="*/ 284415 h 2243073"/>
              <a:gd name="connsiteX10" fmla="*/ 442127 w 5933552"/>
              <a:gd name="connsiteY10" fmla="*/ 259294 h 2243073"/>
              <a:gd name="connsiteX11" fmla="*/ 406958 w 5933552"/>
              <a:gd name="connsiteY11" fmla="*/ 229149 h 2243073"/>
              <a:gd name="connsiteX12" fmla="*/ 406958 w 5933552"/>
              <a:gd name="connsiteY12" fmla="*/ 204028 h 2243073"/>
              <a:gd name="connsiteX13" fmla="*/ 462224 w 5933552"/>
              <a:gd name="connsiteY13" fmla="*/ 193980 h 2243073"/>
              <a:gd name="connsiteX14" fmla="*/ 864158 w 5933552"/>
              <a:gd name="connsiteY14" fmla="*/ 143738 h 2243073"/>
              <a:gd name="connsiteX15" fmla="*/ 999811 w 5933552"/>
              <a:gd name="connsiteY15" fmla="*/ 88472 h 2243073"/>
              <a:gd name="connsiteX16" fmla="*/ 1024932 w 5933552"/>
              <a:gd name="connsiteY16" fmla="*/ 78424 h 2243073"/>
              <a:gd name="connsiteX17" fmla="*/ 999811 w 5933552"/>
              <a:gd name="connsiteY17" fmla="*/ 28182 h 2243073"/>
              <a:gd name="connsiteX18" fmla="*/ 1070149 w 5933552"/>
              <a:gd name="connsiteY18" fmla="*/ 33206 h 2243073"/>
              <a:gd name="connsiteX19" fmla="*/ 1130439 w 5933552"/>
              <a:gd name="connsiteY19" fmla="*/ 53303 h 2243073"/>
              <a:gd name="connsiteX20" fmla="*/ 1160585 w 5933552"/>
              <a:gd name="connsiteY20" fmla="*/ 63351 h 2243073"/>
              <a:gd name="connsiteX21" fmla="*/ 1683099 w 5933552"/>
              <a:gd name="connsiteY21" fmla="*/ 13109 h 2243073"/>
              <a:gd name="connsiteX22" fmla="*/ 2306097 w 5933552"/>
              <a:gd name="connsiteY22" fmla="*/ 3061 h 2243073"/>
              <a:gd name="connsiteX23" fmla="*/ 3029578 w 5933552"/>
              <a:gd name="connsiteY23" fmla="*/ 58327 h 2243073"/>
              <a:gd name="connsiteX24" fmla="*/ 3135086 w 5933552"/>
              <a:gd name="connsiteY24" fmla="*/ 78424 h 2243073"/>
              <a:gd name="connsiteX25" fmla="*/ 3255666 w 5933552"/>
              <a:gd name="connsiteY25" fmla="*/ 98520 h 2243073"/>
              <a:gd name="connsiteX26" fmla="*/ 3542044 w 5933552"/>
              <a:gd name="connsiteY26" fmla="*/ 183931 h 2243073"/>
              <a:gd name="connsiteX27" fmla="*/ 3798277 w 5933552"/>
              <a:gd name="connsiteY27" fmla="*/ 319584 h 2243073"/>
              <a:gd name="connsiteX28" fmla="*/ 4210259 w 5933552"/>
              <a:gd name="connsiteY28" fmla="*/ 545672 h 2243073"/>
              <a:gd name="connsiteX29" fmla="*/ 4340888 w 5933552"/>
              <a:gd name="connsiteY29" fmla="*/ 626059 h 2243073"/>
              <a:gd name="connsiteX30" fmla="*/ 4381081 w 5933552"/>
              <a:gd name="connsiteY30" fmla="*/ 656204 h 2243073"/>
              <a:gd name="connsiteX31" fmla="*/ 4752870 w 5933552"/>
              <a:gd name="connsiteY31" fmla="*/ 686349 h 2243073"/>
              <a:gd name="connsiteX32" fmla="*/ 5164853 w 5933552"/>
              <a:gd name="connsiteY32" fmla="*/ 761711 h 2243073"/>
              <a:gd name="connsiteX33" fmla="*/ 5441182 w 5933552"/>
              <a:gd name="connsiteY33" fmla="*/ 827026 h 2243073"/>
              <a:gd name="connsiteX34" fmla="*/ 5612004 w 5933552"/>
              <a:gd name="connsiteY34" fmla="*/ 902388 h 2243073"/>
              <a:gd name="connsiteX35" fmla="*/ 5807947 w 5933552"/>
              <a:gd name="connsiteY35" fmla="*/ 1048089 h 2243073"/>
              <a:gd name="connsiteX36" fmla="*/ 5823020 w 5933552"/>
              <a:gd name="connsiteY36" fmla="*/ 1118428 h 2243073"/>
              <a:gd name="connsiteX37" fmla="*/ 5838092 w 5933552"/>
              <a:gd name="connsiteY37" fmla="*/ 1218911 h 2243073"/>
              <a:gd name="connsiteX38" fmla="*/ 5823020 w 5933552"/>
              <a:gd name="connsiteY38" fmla="*/ 1249056 h 2243073"/>
              <a:gd name="connsiteX39" fmla="*/ 5863213 w 5933552"/>
              <a:gd name="connsiteY39" fmla="*/ 1299298 h 2243073"/>
              <a:gd name="connsiteX40" fmla="*/ 5893358 w 5933552"/>
              <a:gd name="connsiteY40" fmla="*/ 1359588 h 2243073"/>
              <a:gd name="connsiteX41" fmla="*/ 5893358 w 5933552"/>
              <a:gd name="connsiteY41" fmla="*/ 1434951 h 2243073"/>
              <a:gd name="connsiteX42" fmla="*/ 5928527 w 5933552"/>
              <a:gd name="connsiteY42" fmla="*/ 1495241 h 2243073"/>
              <a:gd name="connsiteX43" fmla="*/ 5918479 w 5933552"/>
              <a:gd name="connsiteY43" fmla="*/ 1605773 h 2243073"/>
              <a:gd name="connsiteX44" fmla="*/ 5898382 w 5933552"/>
              <a:gd name="connsiteY44" fmla="*/ 1686160 h 2243073"/>
              <a:gd name="connsiteX45" fmla="*/ 5918479 w 5933552"/>
              <a:gd name="connsiteY45" fmla="*/ 1776595 h 2243073"/>
              <a:gd name="connsiteX46" fmla="*/ 5933552 w 5933552"/>
              <a:gd name="connsiteY46" fmla="*/ 1811764 h 2243073"/>
              <a:gd name="connsiteX47" fmla="*/ 5812971 w 5933552"/>
              <a:gd name="connsiteY47" fmla="*/ 1872054 h 2243073"/>
              <a:gd name="connsiteX48" fmla="*/ 5812971 w 5933552"/>
              <a:gd name="connsiteY48" fmla="*/ 1872054 h 2243073"/>
              <a:gd name="connsiteX49" fmla="*/ 5727560 w 5933552"/>
              <a:gd name="connsiteY49" fmla="*/ 1932344 h 2243073"/>
              <a:gd name="connsiteX50" fmla="*/ 5390941 w 5933552"/>
              <a:gd name="connsiteY50" fmla="*/ 1937369 h 2243073"/>
              <a:gd name="connsiteX51" fmla="*/ 5215670 w 5933552"/>
              <a:gd name="connsiteY51" fmla="*/ 1935977 h 2243073"/>
              <a:gd name="connsiteX52" fmla="*/ 4373414 w 5933552"/>
              <a:gd name="connsiteY52" fmla="*/ 1917320 h 2243073"/>
              <a:gd name="connsiteX53" fmla="*/ 1657301 w 5933552"/>
              <a:gd name="connsiteY53" fmla="*/ 1891925 h 2243073"/>
              <a:gd name="connsiteX54" fmla="*/ 507442 w 5933552"/>
              <a:gd name="connsiteY54" fmla="*/ 1836885 h 2243073"/>
              <a:gd name="connsiteX55" fmla="*/ 281354 w 5933552"/>
              <a:gd name="connsiteY55" fmla="*/ 1836885 h 2243073"/>
              <a:gd name="connsiteX56" fmla="*/ 130629 w 5933552"/>
              <a:gd name="connsiteY56" fmla="*/ 1761522 h 2243073"/>
              <a:gd name="connsiteX57" fmla="*/ 10048 w 5933552"/>
              <a:gd name="connsiteY57" fmla="*/ 1681136 h 2243073"/>
              <a:gd name="connsiteX58" fmla="*/ 0 w 5933552"/>
              <a:gd name="connsiteY58" fmla="*/ 1540459 h 2243073"/>
              <a:gd name="connsiteX59" fmla="*/ 15072 w 5933552"/>
              <a:gd name="connsiteY59" fmla="*/ 1490217 h 2243073"/>
              <a:gd name="connsiteX60" fmla="*/ 15072 w 5933552"/>
              <a:gd name="connsiteY60" fmla="*/ 1434951 h 2243073"/>
              <a:gd name="connsiteX61" fmla="*/ 25121 w 5933552"/>
              <a:gd name="connsiteY61" fmla="*/ 1384709 h 2243073"/>
              <a:gd name="connsiteX62" fmla="*/ 40193 w 5933552"/>
              <a:gd name="connsiteY62" fmla="*/ 1359588 h 2243073"/>
              <a:gd name="connsiteX63" fmla="*/ 65314 w 5933552"/>
              <a:gd name="connsiteY63" fmla="*/ 1314371 h 2243073"/>
              <a:gd name="connsiteX0" fmla="*/ 65314 w 5933552"/>
              <a:gd name="connsiteY0" fmla="*/ 1314371 h 2215650"/>
              <a:gd name="connsiteX1" fmla="*/ 75363 w 5933552"/>
              <a:gd name="connsiteY1" fmla="*/ 1083259 h 2215650"/>
              <a:gd name="connsiteX2" fmla="*/ 45218 w 5933552"/>
              <a:gd name="connsiteY2" fmla="*/ 1073210 h 2215650"/>
              <a:gd name="connsiteX3" fmla="*/ 95459 w 5933552"/>
              <a:gd name="connsiteY3" fmla="*/ 887316 h 2215650"/>
              <a:gd name="connsiteX4" fmla="*/ 80387 w 5933552"/>
              <a:gd name="connsiteY4" fmla="*/ 771760 h 2215650"/>
              <a:gd name="connsiteX5" fmla="*/ 85411 w 5933552"/>
              <a:gd name="connsiteY5" fmla="*/ 716494 h 2215650"/>
              <a:gd name="connsiteX6" fmla="*/ 105508 w 5933552"/>
              <a:gd name="connsiteY6" fmla="*/ 696397 h 2215650"/>
              <a:gd name="connsiteX7" fmla="*/ 135653 w 5933552"/>
              <a:gd name="connsiteY7" fmla="*/ 676300 h 2215650"/>
              <a:gd name="connsiteX8" fmla="*/ 467248 w 5933552"/>
              <a:gd name="connsiteY8" fmla="*/ 329632 h 2215650"/>
              <a:gd name="connsiteX9" fmla="*/ 472272 w 5933552"/>
              <a:gd name="connsiteY9" fmla="*/ 284415 h 2215650"/>
              <a:gd name="connsiteX10" fmla="*/ 442127 w 5933552"/>
              <a:gd name="connsiteY10" fmla="*/ 259294 h 2215650"/>
              <a:gd name="connsiteX11" fmla="*/ 406958 w 5933552"/>
              <a:gd name="connsiteY11" fmla="*/ 229149 h 2215650"/>
              <a:gd name="connsiteX12" fmla="*/ 406958 w 5933552"/>
              <a:gd name="connsiteY12" fmla="*/ 204028 h 2215650"/>
              <a:gd name="connsiteX13" fmla="*/ 462224 w 5933552"/>
              <a:gd name="connsiteY13" fmla="*/ 193980 h 2215650"/>
              <a:gd name="connsiteX14" fmla="*/ 864158 w 5933552"/>
              <a:gd name="connsiteY14" fmla="*/ 143738 h 2215650"/>
              <a:gd name="connsiteX15" fmla="*/ 999811 w 5933552"/>
              <a:gd name="connsiteY15" fmla="*/ 88472 h 2215650"/>
              <a:gd name="connsiteX16" fmla="*/ 1024932 w 5933552"/>
              <a:gd name="connsiteY16" fmla="*/ 78424 h 2215650"/>
              <a:gd name="connsiteX17" fmla="*/ 999811 w 5933552"/>
              <a:gd name="connsiteY17" fmla="*/ 28182 h 2215650"/>
              <a:gd name="connsiteX18" fmla="*/ 1070149 w 5933552"/>
              <a:gd name="connsiteY18" fmla="*/ 33206 h 2215650"/>
              <a:gd name="connsiteX19" fmla="*/ 1130439 w 5933552"/>
              <a:gd name="connsiteY19" fmla="*/ 53303 h 2215650"/>
              <a:gd name="connsiteX20" fmla="*/ 1160585 w 5933552"/>
              <a:gd name="connsiteY20" fmla="*/ 63351 h 2215650"/>
              <a:gd name="connsiteX21" fmla="*/ 1683099 w 5933552"/>
              <a:gd name="connsiteY21" fmla="*/ 13109 h 2215650"/>
              <a:gd name="connsiteX22" fmla="*/ 2306097 w 5933552"/>
              <a:gd name="connsiteY22" fmla="*/ 3061 h 2215650"/>
              <a:gd name="connsiteX23" fmla="*/ 3029578 w 5933552"/>
              <a:gd name="connsiteY23" fmla="*/ 58327 h 2215650"/>
              <a:gd name="connsiteX24" fmla="*/ 3135086 w 5933552"/>
              <a:gd name="connsiteY24" fmla="*/ 78424 h 2215650"/>
              <a:gd name="connsiteX25" fmla="*/ 3255666 w 5933552"/>
              <a:gd name="connsiteY25" fmla="*/ 98520 h 2215650"/>
              <a:gd name="connsiteX26" fmla="*/ 3542044 w 5933552"/>
              <a:gd name="connsiteY26" fmla="*/ 183931 h 2215650"/>
              <a:gd name="connsiteX27" fmla="*/ 3798277 w 5933552"/>
              <a:gd name="connsiteY27" fmla="*/ 319584 h 2215650"/>
              <a:gd name="connsiteX28" fmla="*/ 4210259 w 5933552"/>
              <a:gd name="connsiteY28" fmla="*/ 545672 h 2215650"/>
              <a:gd name="connsiteX29" fmla="*/ 4340888 w 5933552"/>
              <a:gd name="connsiteY29" fmla="*/ 626059 h 2215650"/>
              <a:gd name="connsiteX30" fmla="*/ 4381081 w 5933552"/>
              <a:gd name="connsiteY30" fmla="*/ 656204 h 2215650"/>
              <a:gd name="connsiteX31" fmla="*/ 4752870 w 5933552"/>
              <a:gd name="connsiteY31" fmla="*/ 686349 h 2215650"/>
              <a:gd name="connsiteX32" fmla="*/ 5164853 w 5933552"/>
              <a:gd name="connsiteY32" fmla="*/ 761711 h 2215650"/>
              <a:gd name="connsiteX33" fmla="*/ 5441182 w 5933552"/>
              <a:gd name="connsiteY33" fmla="*/ 827026 h 2215650"/>
              <a:gd name="connsiteX34" fmla="*/ 5612004 w 5933552"/>
              <a:gd name="connsiteY34" fmla="*/ 902388 h 2215650"/>
              <a:gd name="connsiteX35" fmla="*/ 5807947 w 5933552"/>
              <a:gd name="connsiteY35" fmla="*/ 1048089 h 2215650"/>
              <a:gd name="connsiteX36" fmla="*/ 5823020 w 5933552"/>
              <a:gd name="connsiteY36" fmla="*/ 1118428 h 2215650"/>
              <a:gd name="connsiteX37" fmla="*/ 5838092 w 5933552"/>
              <a:gd name="connsiteY37" fmla="*/ 1218911 h 2215650"/>
              <a:gd name="connsiteX38" fmla="*/ 5823020 w 5933552"/>
              <a:gd name="connsiteY38" fmla="*/ 1249056 h 2215650"/>
              <a:gd name="connsiteX39" fmla="*/ 5863213 w 5933552"/>
              <a:gd name="connsiteY39" fmla="*/ 1299298 h 2215650"/>
              <a:gd name="connsiteX40" fmla="*/ 5893358 w 5933552"/>
              <a:gd name="connsiteY40" fmla="*/ 1359588 h 2215650"/>
              <a:gd name="connsiteX41" fmla="*/ 5893358 w 5933552"/>
              <a:gd name="connsiteY41" fmla="*/ 1434951 h 2215650"/>
              <a:gd name="connsiteX42" fmla="*/ 5928527 w 5933552"/>
              <a:gd name="connsiteY42" fmla="*/ 1495241 h 2215650"/>
              <a:gd name="connsiteX43" fmla="*/ 5918479 w 5933552"/>
              <a:gd name="connsiteY43" fmla="*/ 1605773 h 2215650"/>
              <a:gd name="connsiteX44" fmla="*/ 5898382 w 5933552"/>
              <a:gd name="connsiteY44" fmla="*/ 1686160 h 2215650"/>
              <a:gd name="connsiteX45" fmla="*/ 5918479 w 5933552"/>
              <a:gd name="connsiteY45" fmla="*/ 1776595 h 2215650"/>
              <a:gd name="connsiteX46" fmla="*/ 5933552 w 5933552"/>
              <a:gd name="connsiteY46" fmla="*/ 1811764 h 2215650"/>
              <a:gd name="connsiteX47" fmla="*/ 5812971 w 5933552"/>
              <a:gd name="connsiteY47" fmla="*/ 1872054 h 2215650"/>
              <a:gd name="connsiteX48" fmla="*/ 5812971 w 5933552"/>
              <a:gd name="connsiteY48" fmla="*/ 1872054 h 2215650"/>
              <a:gd name="connsiteX49" fmla="*/ 5727560 w 5933552"/>
              <a:gd name="connsiteY49" fmla="*/ 1932344 h 2215650"/>
              <a:gd name="connsiteX50" fmla="*/ 5390941 w 5933552"/>
              <a:gd name="connsiteY50" fmla="*/ 1937369 h 2215650"/>
              <a:gd name="connsiteX51" fmla="*/ 5215670 w 5933552"/>
              <a:gd name="connsiteY51" fmla="*/ 1935977 h 2215650"/>
              <a:gd name="connsiteX52" fmla="*/ 4373414 w 5933552"/>
              <a:gd name="connsiteY52" fmla="*/ 1917320 h 2215650"/>
              <a:gd name="connsiteX53" fmla="*/ 1657301 w 5933552"/>
              <a:gd name="connsiteY53" fmla="*/ 1891925 h 2215650"/>
              <a:gd name="connsiteX54" fmla="*/ 507442 w 5933552"/>
              <a:gd name="connsiteY54" fmla="*/ 1836885 h 2215650"/>
              <a:gd name="connsiteX55" fmla="*/ 281354 w 5933552"/>
              <a:gd name="connsiteY55" fmla="*/ 1836885 h 2215650"/>
              <a:gd name="connsiteX56" fmla="*/ 130629 w 5933552"/>
              <a:gd name="connsiteY56" fmla="*/ 1761522 h 2215650"/>
              <a:gd name="connsiteX57" fmla="*/ 10048 w 5933552"/>
              <a:gd name="connsiteY57" fmla="*/ 1681136 h 2215650"/>
              <a:gd name="connsiteX58" fmla="*/ 0 w 5933552"/>
              <a:gd name="connsiteY58" fmla="*/ 1540459 h 2215650"/>
              <a:gd name="connsiteX59" fmla="*/ 15072 w 5933552"/>
              <a:gd name="connsiteY59" fmla="*/ 1490217 h 2215650"/>
              <a:gd name="connsiteX60" fmla="*/ 15072 w 5933552"/>
              <a:gd name="connsiteY60" fmla="*/ 1434951 h 2215650"/>
              <a:gd name="connsiteX61" fmla="*/ 25121 w 5933552"/>
              <a:gd name="connsiteY61" fmla="*/ 1384709 h 2215650"/>
              <a:gd name="connsiteX62" fmla="*/ 40193 w 5933552"/>
              <a:gd name="connsiteY62" fmla="*/ 1359588 h 2215650"/>
              <a:gd name="connsiteX63" fmla="*/ 65314 w 5933552"/>
              <a:gd name="connsiteY63" fmla="*/ 1314371 h 2215650"/>
              <a:gd name="connsiteX0" fmla="*/ 65314 w 5933552"/>
              <a:gd name="connsiteY0" fmla="*/ 1314371 h 2215650"/>
              <a:gd name="connsiteX1" fmla="*/ 75363 w 5933552"/>
              <a:gd name="connsiteY1" fmla="*/ 1083259 h 2215650"/>
              <a:gd name="connsiteX2" fmla="*/ 45218 w 5933552"/>
              <a:gd name="connsiteY2" fmla="*/ 1073210 h 2215650"/>
              <a:gd name="connsiteX3" fmla="*/ 95459 w 5933552"/>
              <a:gd name="connsiteY3" fmla="*/ 887316 h 2215650"/>
              <a:gd name="connsiteX4" fmla="*/ 80387 w 5933552"/>
              <a:gd name="connsiteY4" fmla="*/ 771760 h 2215650"/>
              <a:gd name="connsiteX5" fmla="*/ 85411 w 5933552"/>
              <a:gd name="connsiteY5" fmla="*/ 716494 h 2215650"/>
              <a:gd name="connsiteX6" fmla="*/ 105508 w 5933552"/>
              <a:gd name="connsiteY6" fmla="*/ 696397 h 2215650"/>
              <a:gd name="connsiteX7" fmla="*/ 135653 w 5933552"/>
              <a:gd name="connsiteY7" fmla="*/ 676300 h 2215650"/>
              <a:gd name="connsiteX8" fmla="*/ 467248 w 5933552"/>
              <a:gd name="connsiteY8" fmla="*/ 329632 h 2215650"/>
              <a:gd name="connsiteX9" fmla="*/ 472272 w 5933552"/>
              <a:gd name="connsiteY9" fmla="*/ 284415 h 2215650"/>
              <a:gd name="connsiteX10" fmla="*/ 442127 w 5933552"/>
              <a:gd name="connsiteY10" fmla="*/ 259294 h 2215650"/>
              <a:gd name="connsiteX11" fmla="*/ 406958 w 5933552"/>
              <a:gd name="connsiteY11" fmla="*/ 229149 h 2215650"/>
              <a:gd name="connsiteX12" fmla="*/ 406958 w 5933552"/>
              <a:gd name="connsiteY12" fmla="*/ 204028 h 2215650"/>
              <a:gd name="connsiteX13" fmla="*/ 462224 w 5933552"/>
              <a:gd name="connsiteY13" fmla="*/ 193980 h 2215650"/>
              <a:gd name="connsiteX14" fmla="*/ 864158 w 5933552"/>
              <a:gd name="connsiteY14" fmla="*/ 143738 h 2215650"/>
              <a:gd name="connsiteX15" fmla="*/ 999811 w 5933552"/>
              <a:gd name="connsiteY15" fmla="*/ 88472 h 2215650"/>
              <a:gd name="connsiteX16" fmla="*/ 1024932 w 5933552"/>
              <a:gd name="connsiteY16" fmla="*/ 78424 h 2215650"/>
              <a:gd name="connsiteX17" fmla="*/ 999811 w 5933552"/>
              <a:gd name="connsiteY17" fmla="*/ 28182 h 2215650"/>
              <a:gd name="connsiteX18" fmla="*/ 1070149 w 5933552"/>
              <a:gd name="connsiteY18" fmla="*/ 33206 h 2215650"/>
              <a:gd name="connsiteX19" fmla="*/ 1130439 w 5933552"/>
              <a:gd name="connsiteY19" fmla="*/ 53303 h 2215650"/>
              <a:gd name="connsiteX20" fmla="*/ 1160585 w 5933552"/>
              <a:gd name="connsiteY20" fmla="*/ 63351 h 2215650"/>
              <a:gd name="connsiteX21" fmla="*/ 1683099 w 5933552"/>
              <a:gd name="connsiteY21" fmla="*/ 13109 h 2215650"/>
              <a:gd name="connsiteX22" fmla="*/ 2306097 w 5933552"/>
              <a:gd name="connsiteY22" fmla="*/ 3061 h 2215650"/>
              <a:gd name="connsiteX23" fmla="*/ 3029578 w 5933552"/>
              <a:gd name="connsiteY23" fmla="*/ 58327 h 2215650"/>
              <a:gd name="connsiteX24" fmla="*/ 3135086 w 5933552"/>
              <a:gd name="connsiteY24" fmla="*/ 78424 h 2215650"/>
              <a:gd name="connsiteX25" fmla="*/ 3255666 w 5933552"/>
              <a:gd name="connsiteY25" fmla="*/ 98520 h 2215650"/>
              <a:gd name="connsiteX26" fmla="*/ 3542044 w 5933552"/>
              <a:gd name="connsiteY26" fmla="*/ 183931 h 2215650"/>
              <a:gd name="connsiteX27" fmla="*/ 3798277 w 5933552"/>
              <a:gd name="connsiteY27" fmla="*/ 319584 h 2215650"/>
              <a:gd name="connsiteX28" fmla="*/ 4210259 w 5933552"/>
              <a:gd name="connsiteY28" fmla="*/ 545672 h 2215650"/>
              <a:gd name="connsiteX29" fmla="*/ 4340888 w 5933552"/>
              <a:gd name="connsiteY29" fmla="*/ 626059 h 2215650"/>
              <a:gd name="connsiteX30" fmla="*/ 4381081 w 5933552"/>
              <a:gd name="connsiteY30" fmla="*/ 656204 h 2215650"/>
              <a:gd name="connsiteX31" fmla="*/ 4752870 w 5933552"/>
              <a:gd name="connsiteY31" fmla="*/ 686349 h 2215650"/>
              <a:gd name="connsiteX32" fmla="*/ 5164853 w 5933552"/>
              <a:gd name="connsiteY32" fmla="*/ 761711 h 2215650"/>
              <a:gd name="connsiteX33" fmla="*/ 5441182 w 5933552"/>
              <a:gd name="connsiteY33" fmla="*/ 827026 h 2215650"/>
              <a:gd name="connsiteX34" fmla="*/ 5612004 w 5933552"/>
              <a:gd name="connsiteY34" fmla="*/ 902388 h 2215650"/>
              <a:gd name="connsiteX35" fmla="*/ 5807947 w 5933552"/>
              <a:gd name="connsiteY35" fmla="*/ 1048089 h 2215650"/>
              <a:gd name="connsiteX36" fmla="*/ 5823020 w 5933552"/>
              <a:gd name="connsiteY36" fmla="*/ 1118428 h 2215650"/>
              <a:gd name="connsiteX37" fmla="*/ 5838092 w 5933552"/>
              <a:gd name="connsiteY37" fmla="*/ 1218911 h 2215650"/>
              <a:gd name="connsiteX38" fmla="*/ 5823020 w 5933552"/>
              <a:gd name="connsiteY38" fmla="*/ 1249056 h 2215650"/>
              <a:gd name="connsiteX39" fmla="*/ 5863213 w 5933552"/>
              <a:gd name="connsiteY39" fmla="*/ 1299298 h 2215650"/>
              <a:gd name="connsiteX40" fmla="*/ 5893358 w 5933552"/>
              <a:gd name="connsiteY40" fmla="*/ 1359588 h 2215650"/>
              <a:gd name="connsiteX41" fmla="*/ 5893358 w 5933552"/>
              <a:gd name="connsiteY41" fmla="*/ 1434951 h 2215650"/>
              <a:gd name="connsiteX42" fmla="*/ 5928527 w 5933552"/>
              <a:gd name="connsiteY42" fmla="*/ 1495241 h 2215650"/>
              <a:gd name="connsiteX43" fmla="*/ 5918479 w 5933552"/>
              <a:gd name="connsiteY43" fmla="*/ 1605773 h 2215650"/>
              <a:gd name="connsiteX44" fmla="*/ 5898382 w 5933552"/>
              <a:gd name="connsiteY44" fmla="*/ 1686160 h 2215650"/>
              <a:gd name="connsiteX45" fmla="*/ 5918479 w 5933552"/>
              <a:gd name="connsiteY45" fmla="*/ 1776595 h 2215650"/>
              <a:gd name="connsiteX46" fmla="*/ 5933552 w 5933552"/>
              <a:gd name="connsiteY46" fmla="*/ 1811764 h 2215650"/>
              <a:gd name="connsiteX47" fmla="*/ 5812971 w 5933552"/>
              <a:gd name="connsiteY47" fmla="*/ 1872054 h 2215650"/>
              <a:gd name="connsiteX48" fmla="*/ 5812971 w 5933552"/>
              <a:gd name="connsiteY48" fmla="*/ 1872054 h 2215650"/>
              <a:gd name="connsiteX49" fmla="*/ 5727560 w 5933552"/>
              <a:gd name="connsiteY49" fmla="*/ 1932344 h 2215650"/>
              <a:gd name="connsiteX50" fmla="*/ 5390941 w 5933552"/>
              <a:gd name="connsiteY50" fmla="*/ 1937369 h 2215650"/>
              <a:gd name="connsiteX51" fmla="*/ 5215670 w 5933552"/>
              <a:gd name="connsiteY51" fmla="*/ 1935977 h 2215650"/>
              <a:gd name="connsiteX52" fmla="*/ 4373414 w 5933552"/>
              <a:gd name="connsiteY52" fmla="*/ 1917320 h 2215650"/>
              <a:gd name="connsiteX53" fmla="*/ 1657301 w 5933552"/>
              <a:gd name="connsiteY53" fmla="*/ 1891925 h 2215650"/>
              <a:gd name="connsiteX54" fmla="*/ 507442 w 5933552"/>
              <a:gd name="connsiteY54" fmla="*/ 1836885 h 2215650"/>
              <a:gd name="connsiteX55" fmla="*/ 281354 w 5933552"/>
              <a:gd name="connsiteY55" fmla="*/ 1836885 h 2215650"/>
              <a:gd name="connsiteX56" fmla="*/ 130629 w 5933552"/>
              <a:gd name="connsiteY56" fmla="*/ 1761522 h 2215650"/>
              <a:gd name="connsiteX57" fmla="*/ 10048 w 5933552"/>
              <a:gd name="connsiteY57" fmla="*/ 1681136 h 2215650"/>
              <a:gd name="connsiteX58" fmla="*/ 0 w 5933552"/>
              <a:gd name="connsiteY58" fmla="*/ 1540459 h 2215650"/>
              <a:gd name="connsiteX59" fmla="*/ 15072 w 5933552"/>
              <a:gd name="connsiteY59" fmla="*/ 1490217 h 2215650"/>
              <a:gd name="connsiteX60" fmla="*/ 15072 w 5933552"/>
              <a:gd name="connsiteY60" fmla="*/ 1434951 h 2215650"/>
              <a:gd name="connsiteX61" fmla="*/ 25121 w 5933552"/>
              <a:gd name="connsiteY61" fmla="*/ 1384709 h 2215650"/>
              <a:gd name="connsiteX62" fmla="*/ 40193 w 5933552"/>
              <a:gd name="connsiteY62" fmla="*/ 1359588 h 2215650"/>
              <a:gd name="connsiteX63" fmla="*/ 65314 w 5933552"/>
              <a:gd name="connsiteY63" fmla="*/ 1314371 h 2215650"/>
              <a:gd name="connsiteX0" fmla="*/ 65314 w 5933552"/>
              <a:gd name="connsiteY0" fmla="*/ 1314371 h 2219849"/>
              <a:gd name="connsiteX1" fmla="*/ 75363 w 5933552"/>
              <a:gd name="connsiteY1" fmla="*/ 1083259 h 2219849"/>
              <a:gd name="connsiteX2" fmla="*/ 45218 w 5933552"/>
              <a:gd name="connsiteY2" fmla="*/ 1073210 h 2219849"/>
              <a:gd name="connsiteX3" fmla="*/ 95459 w 5933552"/>
              <a:gd name="connsiteY3" fmla="*/ 887316 h 2219849"/>
              <a:gd name="connsiteX4" fmla="*/ 80387 w 5933552"/>
              <a:gd name="connsiteY4" fmla="*/ 771760 h 2219849"/>
              <a:gd name="connsiteX5" fmla="*/ 85411 w 5933552"/>
              <a:gd name="connsiteY5" fmla="*/ 716494 h 2219849"/>
              <a:gd name="connsiteX6" fmla="*/ 105508 w 5933552"/>
              <a:gd name="connsiteY6" fmla="*/ 696397 h 2219849"/>
              <a:gd name="connsiteX7" fmla="*/ 135653 w 5933552"/>
              <a:gd name="connsiteY7" fmla="*/ 676300 h 2219849"/>
              <a:gd name="connsiteX8" fmla="*/ 467248 w 5933552"/>
              <a:gd name="connsiteY8" fmla="*/ 329632 h 2219849"/>
              <a:gd name="connsiteX9" fmla="*/ 472272 w 5933552"/>
              <a:gd name="connsiteY9" fmla="*/ 284415 h 2219849"/>
              <a:gd name="connsiteX10" fmla="*/ 442127 w 5933552"/>
              <a:gd name="connsiteY10" fmla="*/ 259294 h 2219849"/>
              <a:gd name="connsiteX11" fmla="*/ 406958 w 5933552"/>
              <a:gd name="connsiteY11" fmla="*/ 229149 h 2219849"/>
              <a:gd name="connsiteX12" fmla="*/ 406958 w 5933552"/>
              <a:gd name="connsiteY12" fmla="*/ 204028 h 2219849"/>
              <a:gd name="connsiteX13" fmla="*/ 462224 w 5933552"/>
              <a:gd name="connsiteY13" fmla="*/ 193980 h 2219849"/>
              <a:gd name="connsiteX14" fmla="*/ 864158 w 5933552"/>
              <a:gd name="connsiteY14" fmla="*/ 143738 h 2219849"/>
              <a:gd name="connsiteX15" fmla="*/ 999811 w 5933552"/>
              <a:gd name="connsiteY15" fmla="*/ 88472 h 2219849"/>
              <a:gd name="connsiteX16" fmla="*/ 1024932 w 5933552"/>
              <a:gd name="connsiteY16" fmla="*/ 78424 h 2219849"/>
              <a:gd name="connsiteX17" fmla="*/ 999811 w 5933552"/>
              <a:gd name="connsiteY17" fmla="*/ 28182 h 2219849"/>
              <a:gd name="connsiteX18" fmla="*/ 1070149 w 5933552"/>
              <a:gd name="connsiteY18" fmla="*/ 33206 h 2219849"/>
              <a:gd name="connsiteX19" fmla="*/ 1130439 w 5933552"/>
              <a:gd name="connsiteY19" fmla="*/ 53303 h 2219849"/>
              <a:gd name="connsiteX20" fmla="*/ 1160585 w 5933552"/>
              <a:gd name="connsiteY20" fmla="*/ 63351 h 2219849"/>
              <a:gd name="connsiteX21" fmla="*/ 1683099 w 5933552"/>
              <a:gd name="connsiteY21" fmla="*/ 13109 h 2219849"/>
              <a:gd name="connsiteX22" fmla="*/ 2306097 w 5933552"/>
              <a:gd name="connsiteY22" fmla="*/ 3061 h 2219849"/>
              <a:gd name="connsiteX23" fmla="*/ 3029578 w 5933552"/>
              <a:gd name="connsiteY23" fmla="*/ 58327 h 2219849"/>
              <a:gd name="connsiteX24" fmla="*/ 3135086 w 5933552"/>
              <a:gd name="connsiteY24" fmla="*/ 78424 h 2219849"/>
              <a:gd name="connsiteX25" fmla="*/ 3255666 w 5933552"/>
              <a:gd name="connsiteY25" fmla="*/ 98520 h 2219849"/>
              <a:gd name="connsiteX26" fmla="*/ 3542044 w 5933552"/>
              <a:gd name="connsiteY26" fmla="*/ 183931 h 2219849"/>
              <a:gd name="connsiteX27" fmla="*/ 3798277 w 5933552"/>
              <a:gd name="connsiteY27" fmla="*/ 319584 h 2219849"/>
              <a:gd name="connsiteX28" fmla="*/ 4210259 w 5933552"/>
              <a:gd name="connsiteY28" fmla="*/ 545672 h 2219849"/>
              <a:gd name="connsiteX29" fmla="*/ 4340888 w 5933552"/>
              <a:gd name="connsiteY29" fmla="*/ 626059 h 2219849"/>
              <a:gd name="connsiteX30" fmla="*/ 4381081 w 5933552"/>
              <a:gd name="connsiteY30" fmla="*/ 656204 h 2219849"/>
              <a:gd name="connsiteX31" fmla="*/ 4752870 w 5933552"/>
              <a:gd name="connsiteY31" fmla="*/ 686349 h 2219849"/>
              <a:gd name="connsiteX32" fmla="*/ 5164853 w 5933552"/>
              <a:gd name="connsiteY32" fmla="*/ 761711 h 2219849"/>
              <a:gd name="connsiteX33" fmla="*/ 5441182 w 5933552"/>
              <a:gd name="connsiteY33" fmla="*/ 827026 h 2219849"/>
              <a:gd name="connsiteX34" fmla="*/ 5612004 w 5933552"/>
              <a:gd name="connsiteY34" fmla="*/ 902388 h 2219849"/>
              <a:gd name="connsiteX35" fmla="*/ 5807947 w 5933552"/>
              <a:gd name="connsiteY35" fmla="*/ 1048089 h 2219849"/>
              <a:gd name="connsiteX36" fmla="*/ 5823020 w 5933552"/>
              <a:gd name="connsiteY36" fmla="*/ 1118428 h 2219849"/>
              <a:gd name="connsiteX37" fmla="*/ 5838092 w 5933552"/>
              <a:gd name="connsiteY37" fmla="*/ 1218911 h 2219849"/>
              <a:gd name="connsiteX38" fmla="*/ 5823020 w 5933552"/>
              <a:gd name="connsiteY38" fmla="*/ 1249056 h 2219849"/>
              <a:gd name="connsiteX39" fmla="*/ 5863213 w 5933552"/>
              <a:gd name="connsiteY39" fmla="*/ 1299298 h 2219849"/>
              <a:gd name="connsiteX40" fmla="*/ 5893358 w 5933552"/>
              <a:gd name="connsiteY40" fmla="*/ 1359588 h 2219849"/>
              <a:gd name="connsiteX41" fmla="*/ 5893358 w 5933552"/>
              <a:gd name="connsiteY41" fmla="*/ 1434951 h 2219849"/>
              <a:gd name="connsiteX42" fmla="*/ 5928527 w 5933552"/>
              <a:gd name="connsiteY42" fmla="*/ 1495241 h 2219849"/>
              <a:gd name="connsiteX43" fmla="*/ 5918479 w 5933552"/>
              <a:gd name="connsiteY43" fmla="*/ 1605773 h 2219849"/>
              <a:gd name="connsiteX44" fmla="*/ 5898382 w 5933552"/>
              <a:gd name="connsiteY44" fmla="*/ 1686160 h 2219849"/>
              <a:gd name="connsiteX45" fmla="*/ 5918479 w 5933552"/>
              <a:gd name="connsiteY45" fmla="*/ 1776595 h 2219849"/>
              <a:gd name="connsiteX46" fmla="*/ 5933552 w 5933552"/>
              <a:gd name="connsiteY46" fmla="*/ 1811764 h 2219849"/>
              <a:gd name="connsiteX47" fmla="*/ 5812971 w 5933552"/>
              <a:gd name="connsiteY47" fmla="*/ 1872054 h 2219849"/>
              <a:gd name="connsiteX48" fmla="*/ 5812971 w 5933552"/>
              <a:gd name="connsiteY48" fmla="*/ 1872054 h 2219849"/>
              <a:gd name="connsiteX49" fmla="*/ 5727560 w 5933552"/>
              <a:gd name="connsiteY49" fmla="*/ 1932344 h 2219849"/>
              <a:gd name="connsiteX50" fmla="*/ 5390941 w 5933552"/>
              <a:gd name="connsiteY50" fmla="*/ 1937369 h 2219849"/>
              <a:gd name="connsiteX51" fmla="*/ 5215670 w 5933552"/>
              <a:gd name="connsiteY51" fmla="*/ 1935977 h 2219849"/>
              <a:gd name="connsiteX52" fmla="*/ 4373414 w 5933552"/>
              <a:gd name="connsiteY52" fmla="*/ 1917320 h 2219849"/>
              <a:gd name="connsiteX53" fmla="*/ 1657301 w 5933552"/>
              <a:gd name="connsiteY53" fmla="*/ 1891925 h 2219849"/>
              <a:gd name="connsiteX54" fmla="*/ 507442 w 5933552"/>
              <a:gd name="connsiteY54" fmla="*/ 1836885 h 2219849"/>
              <a:gd name="connsiteX55" fmla="*/ 281354 w 5933552"/>
              <a:gd name="connsiteY55" fmla="*/ 1836885 h 2219849"/>
              <a:gd name="connsiteX56" fmla="*/ 130629 w 5933552"/>
              <a:gd name="connsiteY56" fmla="*/ 1761522 h 2219849"/>
              <a:gd name="connsiteX57" fmla="*/ 10048 w 5933552"/>
              <a:gd name="connsiteY57" fmla="*/ 1681136 h 2219849"/>
              <a:gd name="connsiteX58" fmla="*/ 0 w 5933552"/>
              <a:gd name="connsiteY58" fmla="*/ 1540459 h 2219849"/>
              <a:gd name="connsiteX59" fmla="*/ 15072 w 5933552"/>
              <a:gd name="connsiteY59" fmla="*/ 1490217 h 2219849"/>
              <a:gd name="connsiteX60" fmla="*/ 15072 w 5933552"/>
              <a:gd name="connsiteY60" fmla="*/ 1434951 h 2219849"/>
              <a:gd name="connsiteX61" fmla="*/ 25121 w 5933552"/>
              <a:gd name="connsiteY61" fmla="*/ 1384709 h 2219849"/>
              <a:gd name="connsiteX62" fmla="*/ 40193 w 5933552"/>
              <a:gd name="connsiteY62" fmla="*/ 1359588 h 2219849"/>
              <a:gd name="connsiteX63" fmla="*/ 65314 w 5933552"/>
              <a:gd name="connsiteY63" fmla="*/ 1314371 h 2219849"/>
              <a:gd name="connsiteX0" fmla="*/ 65314 w 5933552"/>
              <a:gd name="connsiteY0" fmla="*/ 1314371 h 2230378"/>
              <a:gd name="connsiteX1" fmla="*/ 75363 w 5933552"/>
              <a:gd name="connsiteY1" fmla="*/ 1083259 h 2230378"/>
              <a:gd name="connsiteX2" fmla="*/ 45218 w 5933552"/>
              <a:gd name="connsiteY2" fmla="*/ 1073210 h 2230378"/>
              <a:gd name="connsiteX3" fmla="*/ 95459 w 5933552"/>
              <a:gd name="connsiteY3" fmla="*/ 887316 h 2230378"/>
              <a:gd name="connsiteX4" fmla="*/ 80387 w 5933552"/>
              <a:gd name="connsiteY4" fmla="*/ 771760 h 2230378"/>
              <a:gd name="connsiteX5" fmla="*/ 85411 w 5933552"/>
              <a:gd name="connsiteY5" fmla="*/ 716494 h 2230378"/>
              <a:gd name="connsiteX6" fmla="*/ 105508 w 5933552"/>
              <a:gd name="connsiteY6" fmla="*/ 696397 h 2230378"/>
              <a:gd name="connsiteX7" fmla="*/ 135653 w 5933552"/>
              <a:gd name="connsiteY7" fmla="*/ 676300 h 2230378"/>
              <a:gd name="connsiteX8" fmla="*/ 467248 w 5933552"/>
              <a:gd name="connsiteY8" fmla="*/ 329632 h 2230378"/>
              <a:gd name="connsiteX9" fmla="*/ 472272 w 5933552"/>
              <a:gd name="connsiteY9" fmla="*/ 284415 h 2230378"/>
              <a:gd name="connsiteX10" fmla="*/ 442127 w 5933552"/>
              <a:gd name="connsiteY10" fmla="*/ 259294 h 2230378"/>
              <a:gd name="connsiteX11" fmla="*/ 406958 w 5933552"/>
              <a:gd name="connsiteY11" fmla="*/ 229149 h 2230378"/>
              <a:gd name="connsiteX12" fmla="*/ 406958 w 5933552"/>
              <a:gd name="connsiteY12" fmla="*/ 204028 h 2230378"/>
              <a:gd name="connsiteX13" fmla="*/ 462224 w 5933552"/>
              <a:gd name="connsiteY13" fmla="*/ 193980 h 2230378"/>
              <a:gd name="connsiteX14" fmla="*/ 864158 w 5933552"/>
              <a:gd name="connsiteY14" fmla="*/ 143738 h 2230378"/>
              <a:gd name="connsiteX15" fmla="*/ 999811 w 5933552"/>
              <a:gd name="connsiteY15" fmla="*/ 88472 h 2230378"/>
              <a:gd name="connsiteX16" fmla="*/ 1024932 w 5933552"/>
              <a:gd name="connsiteY16" fmla="*/ 78424 h 2230378"/>
              <a:gd name="connsiteX17" fmla="*/ 999811 w 5933552"/>
              <a:gd name="connsiteY17" fmla="*/ 28182 h 2230378"/>
              <a:gd name="connsiteX18" fmla="*/ 1070149 w 5933552"/>
              <a:gd name="connsiteY18" fmla="*/ 33206 h 2230378"/>
              <a:gd name="connsiteX19" fmla="*/ 1130439 w 5933552"/>
              <a:gd name="connsiteY19" fmla="*/ 53303 h 2230378"/>
              <a:gd name="connsiteX20" fmla="*/ 1160585 w 5933552"/>
              <a:gd name="connsiteY20" fmla="*/ 63351 h 2230378"/>
              <a:gd name="connsiteX21" fmla="*/ 1683099 w 5933552"/>
              <a:gd name="connsiteY21" fmla="*/ 13109 h 2230378"/>
              <a:gd name="connsiteX22" fmla="*/ 2306097 w 5933552"/>
              <a:gd name="connsiteY22" fmla="*/ 3061 h 2230378"/>
              <a:gd name="connsiteX23" fmla="*/ 3029578 w 5933552"/>
              <a:gd name="connsiteY23" fmla="*/ 58327 h 2230378"/>
              <a:gd name="connsiteX24" fmla="*/ 3135086 w 5933552"/>
              <a:gd name="connsiteY24" fmla="*/ 78424 h 2230378"/>
              <a:gd name="connsiteX25" fmla="*/ 3255666 w 5933552"/>
              <a:gd name="connsiteY25" fmla="*/ 98520 h 2230378"/>
              <a:gd name="connsiteX26" fmla="*/ 3542044 w 5933552"/>
              <a:gd name="connsiteY26" fmla="*/ 183931 h 2230378"/>
              <a:gd name="connsiteX27" fmla="*/ 3798277 w 5933552"/>
              <a:gd name="connsiteY27" fmla="*/ 319584 h 2230378"/>
              <a:gd name="connsiteX28" fmla="*/ 4210259 w 5933552"/>
              <a:gd name="connsiteY28" fmla="*/ 545672 h 2230378"/>
              <a:gd name="connsiteX29" fmla="*/ 4340888 w 5933552"/>
              <a:gd name="connsiteY29" fmla="*/ 626059 h 2230378"/>
              <a:gd name="connsiteX30" fmla="*/ 4381081 w 5933552"/>
              <a:gd name="connsiteY30" fmla="*/ 656204 h 2230378"/>
              <a:gd name="connsiteX31" fmla="*/ 4752870 w 5933552"/>
              <a:gd name="connsiteY31" fmla="*/ 686349 h 2230378"/>
              <a:gd name="connsiteX32" fmla="*/ 5164853 w 5933552"/>
              <a:gd name="connsiteY32" fmla="*/ 761711 h 2230378"/>
              <a:gd name="connsiteX33" fmla="*/ 5441182 w 5933552"/>
              <a:gd name="connsiteY33" fmla="*/ 827026 h 2230378"/>
              <a:gd name="connsiteX34" fmla="*/ 5612004 w 5933552"/>
              <a:gd name="connsiteY34" fmla="*/ 902388 h 2230378"/>
              <a:gd name="connsiteX35" fmla="*/ 5807947 w 5933552"/>
              <a:gd name="connsiteY35" fmla="*/ 1048089 h 2230378"/>
              <a:gd name="connsiteX36" fmla="*/ 5823020 w 5933552"/>
              <a:gd name="connsiteY36" fmla="*/ 1118428 h 2230378"/>
              <a:gd name="connsiteX37" fmla="*/ 5838092 w 5933552"/>
              <a:gd name="connsiteY37" fmla="*/ 1218911 h 2230378"/>
              <a:gd name="connsiteX38" fmla="*/ 5823020 w 5933552"/>
              <a:gd name="connsiteY38" fmla="*/ 1249056 h 2230378"/>
              <a:gd name="connsiteX39" fmla="*/ 5863213 w 5933552"/>
              <a:gd name="connsiteY39" fmla="*/ 1299298 h 2230378"/>
              <a:gd name="connsiteX40" fmla="*/ 5893358 w 5933552"/>
              <a:gd name="connsiteY40" fmla="*/ 1359588 h 2230378"/>
              <a:gd name="connsiteX41" fmla="*/ 5893358 w 5933552"/>
              <a:gd name="connsiteY41" fmla="*/ 1434951 h 2230378"/>
              <a:gd name="connsiteX42" fmla="*/ 5928527 w 5933552"/>
              <a:gd name="connsiteY42" fmla="*/ 1495241 h 2230378"/>
              <a:gd name="connsiteX43" fmla="*/ 5918479 w 5933552"/>
              <a:gd name="connsiteY43" fmla="*/ 1605773 h 2230378"/>
              <a:gd name="connsiteX44" fmla="*/ 5898382 w 5933552"/>
              <a:gd name="connsiteY44" fmla="*/ 1686160 h 2230378"/>
              <a:gd name="connsiteX45" fmla="*/ 5918479 w 5933552"/>
              <a:gd name="connsiteY45" fmla="*/ 1776595 h 2230378"/>
              <a:gd name="connsiteX46" fmla="*/ 5933552 w 5933552"/>
              <a:gd name="connsiteY46" fmla="*/ 1811764 h 2230378"/>
              <a:gd name="connsiteX47" fmla="*/ 5812971 w 5933552"/>
              <a:gd name="connsiteY47" fmla="*/ 1872054 h 2230378"/>
              <a:gd name="connsiteX48" fmla="*/ 5812971 w 5933552"/>
              <a:gd name="connsiteY48" fmla="*/ 1872054 h 2230378"/>
              <a:gd name="connsiteX49" fmla="*/ 5727560 w 5933552"/>
              <a:gd name="connsiteY49" fmla="*/ 1932344 h 2230378"/>
              <a:gd name="connsiteX50" fmla="*/ 5390941 w 5933552"/>
              <a:gd name="connsiteY50" fmla="*/ 1937369 h 2230378"/>
              <a:gd name="connsiteX51" fmla="*/ 5215670 w 5933552"/>
              <a:gd name="connsiteY51" fmla="*/ 1935977 h 2230378"/>
              <a:gd name="connsiteX52" fmla="*/ 4373414 w 5933552"/>
              <a:gd name="connsiteY52" fmla="*/ 1917320 h 2230378"/>
              <a:gd name="connsiteX53" fmla="*/ 1657301 w 5933552"/>
              <a:gd name="connsiteY53" fmla="*/ 1891925 h 2230378"/>
              <a:gd name="connsiteX54" fmla="*/ 507442 w 5933552"/>
              <a:gd name="connsiteY54" fmla="*/ 1836885 h 2230378"/>
              <a:gd name="connsiteX55" fmla="*/ 281354 w 5933552"/>
              <a:gd name="connsiteY55" fmla="*/ 1836885 h 2230378"/>
              <a:gd name="connsiteX56" fmla="*/ 130629 w 5933552"/>
              <a:gd name="connsiteY56" fmla="*/ 1761522 h 2230378"/>
              <a:gd name="connsiteX57" fmla="*/ 10048 w 5933552"/>
              <a:gd name="connsiteY57" fmla="*/ 1681136 h 2230378"/>
              <a:gd name="connsiteX58" fmla="*/ 0 w 5933552"/>
              <a:gd name="connsiteY58" fmla="*/ 1540459 h 2230378"/>
              <a:gd name="connsiteX59" fmla="*/ 15072 w 5933552"/>
              <a:gd name="connsiteY59" fmla="*/ 1490217 h 2230378"/>
              <a:gd name="connsiteX60" fmla="*/ 15072 w 5933552"/>
              <a:gd name="connsiteY60" fmla="*/ 1434951 h 2230378"/>
              <a:gd name="connsiteX61" fmla="*/ 25121 w 5933552"/>
              <a:gd name="connsiteY61" fmla="*/ 1384709 h 2230378"/>
              <a:gd name="connsiteX62" fmla="*/ 40193 w 5933552"/>
              <a:gd name="connsiteY62" fmla="*/ 1359588 h 2230378"/>
              <a:gd name="connsiteX63" fmla="*/ 65314 w 5933552"/>
              <a:gd name="connsiteY63" fmla="*/ 1314371 h 2230378"/>
              <a:gd name="connsiteX0" fmla="*/ 65314 w 5933552"/>
              <a:gd name="connsiteY0" fmla="*/ 1314371 h 2238835"/>
              <a:gd name="connsiteX1" fmla="*/ 75363 w 5933552"/>
              <a:gd name="connsiteY1" fmla="*/ 1083259 h 2238835"/>
              <a:gd name="connsiteX2" fmla="*/ 45218 w 5933552"/>
              <a:gd name="connsiteY2" fmla="*/ 1073210 h 2238835"/>
              <a:gd name="connsiteX3" fmla="*/ 95459 w 5933552"/>
              <a:gd name="connsiteY3" fmla="*/ 887316 h 2238835"/>
              <a:gd name="connsiteX4" fmla="*/ 80387 w 5933552"/>
              <a:gd name="connsiteY4" fmla="*/ 771760 h 2238835"/>
              <a:gd name="connsiteX5" fmla="*/ 85411 w 5933552"/>
              <a:gd name="connsiteY5" fmla="*/ 716494 h 2238835"/>
              <a:gd name="connsiteX6" fmla="*/ 105508 w 5933552"/>
              <a:gd name="connsiteY6" fmla="*/ 696397 h 2238835"/>
              <a:gd name="connsiteX7" fmla="*/ 135653 w 5933552"/>
              <a:gd name="connsiteY7" fmla="*/ 676300 h 2238835"/>
              <a:gd name="connsiteX8" fmla="*/ 467248 w 5933552"/>
              <a:gd name="connsiteY8" fmla="*/ 329632 h 2238835"/>
              <a:gd name="connsiteX9" fmla="*/ 472272 w 5933552"/>
              <a:gd name="connsiteY9" fmla="*/ 284415 h 2238835"/>
              <a:gd name="connsiteX10" fmla="*/ 442127 w 5933552"/>
              <a:gd name="connsiteY10" fmla="*/ 259294 h 2238835"/>
              <a:gd name="connsiteX11" fmla="*/ 406958 w 5933552"/>
              <a:gd name="connsiteY11" fmla="*/ 229149 h 2238835"/>
              <a:gd name="connsiteX12" fmla="*/ 406958 w 5933552"/>
              <a:gd name="connsiteY12" fmla="*/ 204028 h 2238835"/>
              <a:gd name="connsiteX13" fmla="*/ 462224 w 5933552"/>
              <a:gd name="connsiteY13" fmla="*/ 193980 h 2238835"/>
              <a:gd name="connsiteX14" fmla="*/ 864158 w 5933552"/>
              <a:gd name="connsiteY14" fmla="*/ 143738 h 2238835"/>
              <a:gd name="connsiteX15" fmla="*/ 999811 w 5933552"/>
              <a:gd name="connsiteY15" fmla="*/ 88472 h 2238835"/>
              <a:gd name="connsiteX16" fmla="*/ 1024932 w 5933552"/>
              <a:gd name="connsiteY16" fmla="*/ 78424 h 2238835"/>
              <a:gd name="connsiteX17" fmla="*/ 999811 w 5933552"/>
              <a:gd name="connsiteY17" fmla="*/ 28182 h 2238835"/>
              <a:gd name="connsiteX18" fmla="*/ 1070149 w 5933552"/>
              <a:gd name="connsiteY18" fmla="*/ 33206 h 2238835"/>
              <a:gd name="connsiteX19" fmla="*/ 1130439 w 5933552"/>
              <a:gd name="connsiteY19" fmla="*/ 53303 h 2238835"/>
              <a:gd name="connsiteX20" fmla="*/ 1160585 w 5933552"/>
              <a:gd name="connsiteY20" fmla="*/ 63351 h 2238835"/>
              <a:gd name="connsiteX21" fmla="*/ 1683099 w 5933552"/>
              <a:gd name="connsiteY21" fmla="*/ 13109 h 2238835"/>
              <a:gd name="connsiteX22" fmla="*/ 2306097 w 5933552"/>
              <a:gd name="connsiteY22" fmla="*/ 3061 h 2238835"/>
              <a:gd name="connsiteX23" fmla="*/ 3029578 w 5933552"/>
              <a:gd name="connsiteY23" fmla="*/ 58327 h 2238835"/>
              <a:gd name="connsiteX24" fmla="*/ 3135086 w 5933552"/>
              <a:gd name="connsiteY24" fmla="*/ 78424 h 2238835"/>
              <a:gd name="connsiteX25" fmla="*/ 3255666 w 5933552"/>
              <a:gd name="connsiteY25" fmla="*/ 98520 h 2238835"/>
              <a:gd name="connsiteX26" fmla="*/ 3542044 w 5933552"/>
              <a:gd name="connsiteY26" fmla="*/ 183931 h 2238835"/>
              <a:gd name="connsiteX27" fmla="*/ 3798277 w 5933552"/>
              <a:gd name="connsiteY27" fmla="*/ 319584 h 2238835"/>
              <a:gd name="connsiteX28" fmla="*/ 4210259 w 5933552"/>
              <a:gd name="connsiteY28" fmla="*/ 545672 h 2238835"/>
              <a:gd name="connsiteX29" fmla="*/ 4340888 w 5933552"/>
              <a:gd name="connsiteY29" fmla="*/ 626059 h 2238835"/>
              <a:gd name="connsiteX30" fmla="*/ 4381081 w 5933552"/>
              <a:gd name="connsiteY30" fmla="*/ 656204 h 2238835"/>
              <a:gd name="connsiteX31" fmla="*/ 4752870 w 5933552"/>
              <a:gd name="connsiteY31" fmla="*/ 686349 h 2238835"/>
              <a:gd name="connsiteX32" fmla="*/ 5164853 w 5933552"/>
              <a:gd name="connsiteY32" fmla="*/ 761711 h 2238835"/>
              <a:gd name="connsiteX33" fmla="*/ 5441182 w 5933552"/>
              <a:gd name="connsiteY33" fmla="*/ 827026 h 2238835"/>
              <a:gd name="connsiteX34" fmla="*/ 5612004 w 5933552"/>
              <a:gd name="connsiteY34" fmla="*/ 902388 h 2238835"/>
              <a:gd name="connsiteX35" fmla="*/ 5807947 w 5933552"/>
              <a:gd name="connsiteY35" fmla="*/ 1048089 h 2238835"/>
              <a:gd name="connsiteX36" fmla="*/ 5823020 w 5933552"/>
              <a:gd name="connsiteY36" fmla="*/ 1118428 h 2238835"/>
              <a:gd name="connsiteX37" fmla="*/ 5838092 w 5933552"/>
              <a:gd name="connsiteY37" fmla="*/ 1218911 h 2238835"/>
              <a:gd name="connsiteX38" fmla="*/ 5823020 w 5933552"/>
              <a:gd name="connsiteY38" fmla="*/ 1249056 h 2238835"/>
              <a:gd name="connsiteX39" fmla="*/ 5863213 w 5933552"/>
              <a:gd name="connsiteY39" fmla="*/ 1299298 h 2238835"/>
              <a:gd name="connsiteX40" fmla="*/ 5893358 w 5933552"/>
              <a:gd name="connsiteY40" fmla="*/ 1359588 h 2238835"/>
              <a:gd name="connsiteX41" fmla="*/ 5893358 w 5933552"/>
              <a:gd name="connsiteY41" fmla="*/ 1434951 h 2238835"/>
              <a:gd name="connsiteX42" fmla="*/ 5928527 w 5933552"/>
              <a:gd name="connsiteY42" fmla="*/ 1495241 h 2238835"/>
              <a:gd name="connsiteX43" fmla="*/ 5918479 w 5933552"/>
              <a:gd name="connsiteY43" fmla="*/ 1605773 h 2238835"/>
              <a:gd name="connsiteX44" fmla="*/ 5898382 w 5933552"/>
              <a:gd name="connsiteY44" fmla="*/ 1686160 h 2238835"/>
              <a:gd name="connsiteX45" fmla="*/ 5918479 w 5933552"/>
              <a:gd name="connsiteY45" fmla="*/ 1776595 h 2238835"/>
              <a:gd name="connsiteX46" fmla="*/ 5933552 w 5933552"/>
              <a:gd name="connsiteY46" fmla="*/ 1811764 h 2238835"/>
              <a:gd name="connsiteX47" fmla="*/ 5812971 w 5933552"/>
              <a:gd name="connsiteY47" fmla="*/ 1872054 h 2238835"/>
              <a:gd name="connsiteX48" fmla="*/ 5812971 w 5933552"/>
              <a:gd name="connsiteY48" fmla="*/ 1872054 h 2238835"/>
              <a:gd name="connsiteX49" fmla="*/ 5727560 w 5933552"/>
              <a:gd name="connsiteY49" fmla="*/ 1932344 h 2238835"/>
              <a:gd name="connsiteX50" fmla="*/ 5390941 w 5933552"/>
              <a:gd name="connsiteY50" fmla="*/ 1937369 h 2238835"/>
              <a:gd name="connsiteX51" fmla="*/ 5215670 w 5933552"/>
              <a:gd name="connsiteY51" fmla="*/ 1935977 h 2238835"/>
              <a:gd name="connsiteX52" fmla="*/ 4373414 w 5933552"/>
              <a:gd name="connsiteY52" fmla="*/ 1917320 h 2238835"/>
              <a:gd name="connsiteX53" fmla="*/ 1657301 w 5933552"/>
              <a:gd name="connsiteY53" fmla="*/ 1891925 h 2238835"/>
              <a:gd name="connsiteX54" fmla="*/ 507442 w 5933552"/>
              <a:gd name="connsiteY54" fmla="*/ 1836885 h 2238835"/>
              <a:gd name="connsiteX55" fmla="*/ 281354 w 5933552"/>
              <a:gd name="connsiteY55" fmla="*/ 1836885 h 2238835"/>
              <a:gd name="connsiteX56" fmla="*/ 130629 w 5933552"/>
              <a:gd name="connsiteY56" fmla="*/ 1761522 h 2238835"/>
              <a:gd name="connsiteX57" fmla="*/ 10048 w 5933552"/>
              <a:gd name="connsiteY57" fmla="*/ 1681136 h 2238835"/>
              <a:gd name="connsiteX58" fmla="*/ 0 w 5933552"/>
              <a:gd name="connsiteY58" fmla="*/ 1540459 h 2238835"/>
              <a:gd name="connsiteX59" fmla="*/ 15072 w 5933552"/>
              <a:gd name="connsiteY59" fmla="*/ 1490217 h 2238835"/>
              <a:gd name="connsiteX60" fmla="*/ 15072 w 5933552"/>
              <a:gd name="connsiteY60" fmla="*/ 1434951 h 2238835"/>
              <a:gd name="connsiteX61" fmla="*/ 25121 w 5933552"/>
              <a:gd name="connsiteY61" fmla="*/ 1384709 h 2238835"/>
              <a:gd name="connsiteX62" fmla="*/ 40193 w 5933552"/>
              <a:gd name="connsiteY62" fmla="*/ 1359588 h 2238835"/>
              <a:gd name="connsiteX63" fmla="*/ 65314 w 5933552"/>
              <a:gd name="connsiteY63" fmla="*/ 1314371 h 2238835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657301 w 5933552"/>
              <a:gd name="connsiteY53" fmla="*/ 1891925 h 2234603"/>
              <a:gd name="connsiteX54" fmla="*/ 507442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507442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382327"/>
              <a:gd name="connsiteX1" fmla="*/ 75363 w 5933552"/>
              <a:gd name="connsiteY1" fmla="*/ 1083259 h 2382327"/>
              <a:gd name="connsiteX2" fmla="*/ 45218 w 5933552"/>
              <a:gd name="connsiteY2" fmla="*/ 1073210 h 2382327"/>
              <a:gd name="connsiteX3" fmla="*/ 95459 w 5933552"/>
              <a:gd name="connsiteY3" fmla="*/ 887316 h 2382327"/>
              <a:gd name="connsiteX4" fmla="*/ 80387 w 5933552"/>
              <a:gd name="connsiteY4" fmla="*/ 771760 h 2382327"/>
              <a:gd name="connsiteX5" fmla="*/ 85411 w 5933552"/>
              <a:gd name="connsiteY5" fmla="*/ 716494 h 2382327"/>
              <a:gd name="connsiteX6" fmla="*/ 105508 w 5933552"/>
              <a:gd name="connsiteY6" fmla="*/ 696397 h 2382327"/>
              <a:gd name="connsiteX7" fmla="*/ 135653 w 5933552"/>
              <a:gd name="connsiteY7" fmla="*/ 676300 h 2382327"/>
              <a:gd name="connsiteX8" fmla="*/ 467248 w 5933552"/>
              <a:gd name="connsiteY8" fmla="*/ 329632 h 2382327"/>
              <a:gd name="connsiteX9" fmla="*/ 472272 w 5933552"/>
              <a:gd name="connsiteY9" fmla="*/ 284415 h 2382327"/>
              <a:gd name="connsiteX10" fmla="*/ 442127 w 5933552"/>
              <a:gd name="connsiteY10" fmla="*/ 259294 h 2382327"/>
              <a:gd name="connsiteX11" fmla="*/ 406958 w 5933552"/>
              <a:gd name="connsiteY11" fmla="*/ 229149 h 2382327"/>
              <a:gd name="connsiteX12" fmla="*/ 406958 w 5933552"/>
              <a:gd name="connsiteY12" fmla="*/ 204028 h 2382327"/>
              <a:gd name="connsiteX13" fmla="*/ 462224 w 5933552"/>
              <a:gd name="connsiteY13" fmla="*/ 193980 h 2382327"/>
              <a:gd name="connsiteX14" fmla="*/ 864158 w 5933552"/>
              <a:gd name="connsiteY14" fmla="*/ 143738 h 2382327"/>
              <a:gd name="connsiteX15" fmla="*/ 999811 w 5933552"/>
              <a:gd name="connsiteY15" fmla="*/ 88472 h 2382327"/>
              <a:gd name="connsiteX16" fmla="*/ 1024932 w 5933552"/>
              <a:gd name="connsiteY16" fmla="*/ 78424 h 2382327"/>
              <a:gd name="connsiteX17" fmla="*/ 999811 w 5933552"/>
              <a:gd name="connsiteY17" fmla="*/ 28182 h 2382327"/>
              <a:gd name="connsiteX18" fmla="*/ 1070149 w 5933552"/>
              <a:gd name="connsiteY18" fmla="*/ 33206 h 2382327"/>
              <a:gd name="connsiteX19" fmla="*/ 1130439 w 5933552"/>
              <a:gd name="connsiteY19" fmla="*/ 53303 h 2382327"/>
              <a:gd name="connsiteX20" fmla="*/ 1160585 w 5933552"/>
              <a:gd name="connsiteY20" fmla="*/ 63351 h 2382327"/>
              <a:gd name="connsiteX21" fmla="*/ 1683099 w 5933552"/>
              <a:gd name="connsiteY21" fmla="*/ 13109 h 2382327"/>
              <a:gd name="connsiteX22" fmla="*/ 2306097 w 5933552"/>
              <a:gd name="connsiteY22" fmla="*/ 3061 h 2382327"/>
              <a:gd name="connsiteX23" fmla="*/ 3029578 w 5933552"/>
              <a:gd name="connsiteY23" fmla="*/ 58327 h 2382327"/>
              <a:gd name="connsiteX24" fmla="*/ 3135086 w 5933552"/>
              <a:gd name="connsiteY24" fmla="*/ 78424 h 2382327"/>
              <a:gd name="connsiteX25" fmla="*/ 3255666 w 5933552"/>
              <a:gd name="connsiteY25" fmla="*/ 98520 h 2382327"/>
              <a:gd name="connsiteX26" fmla="*/ 3542044 w 5933552"/>
              <a:gd name="connsiteY26" fmla="*/ 183931 h 2382327"/>
              <a:gd name="connsiteX27" fmla="*/ 3798277 w 5933552"/>
              <a:gd name="connsiteY27" fmla="*/ 319584 h 2382327"/>
              <a:gd name="connsiteX28" fmla="*/ 4210259 w 5933552"/>
              <a:gd name="connsiteY28" fmla="*/ 545672 h 2382327"/>
              <a:gd name="connsiteX29" fmla="*/ 4340888 w 5933552"/>
              <a:gd name="connsiteY29" fmla="*/ 626059 h 2382327"/>
              <a:gd name="connsiteX30" fmla="*/ 4381081 w 5933552"/>
              <a:gd name="connsiteY30" fmla="*/ 656204 h 2382327"/>
              <a:gd name="connsiteX31" fmla="*/ 4752870 w 5933552"/>
              <a:gd name="connsiteY31" fmla="*/ 686349 h 2382327"/>
              <a:gd name="connsiteX32" fmla="*/ 5164853 w 5933552"/>
              <a:gd name="connsiteY32" fmla="*/ 761711 h 2382327"/>
              <a:gd name="connsiteX33" fmla="*/ 5441182 w 5933552"/>
              <a:gd name="connsiteY33" fmla="*/ 827026 h 2382327"/>
              <a:gd name="connsiteX34" fmla="*/ 5612004 w 5933552"/>
              <a:gd name="connsiteY34" fmla="*/ 902388 h 2382327"/>
              <a:gd name="connsiteX35" fmla="*/ 5807947 w 5933552"/>
              <a:gd name="connsiteY35" fmla="*/ 1048089 h 2382327"/>
              <a:gd name="connsiteX36" fmla="*/ 5823020 w 5933552"/>
              <a:gd name="connsiteY36" fmla="*/ 1118428 h 2382327"/>
              <a:gd name="connsiteX37" fmla="*/ 5838092 w 5933552"/>
              <a:gd name="connsiteY37" fmla="*/ 1218911 h 2382327"/>
              <a:gd name="connsiteX38" fmla="*/ 5823020 w 5933552"/>
              <a:gd name="connsiteY38" fmla="*/ 1249056 h 2382327"/>
              <a:gd name="connsiteX39" fmla="*/ 5863213 w 5933552"/>
              <a:gd name="connsiteY39" fmla="*/ 1299298 h 2382327"/>
              <a:gd name="connsiteX40" fmla="*/ 5893358 w 5933552"/>
              <a:gd name="connsiteY40" fmla="*/ 1359588 h 2382327"/>
              <a:gd name="connsiteX41" fmla="*/ 5893358 w 5933552"/>
              <a:gd name="connsiteY41" fmla="*/ 1434951 h 2382327"/>
              <a:gd name="connsiteX42" fmla="*/ 5928527 w 5933552"/>
              <a:gd name="connsiteY42" fmla="*/ 1495241 h 2382327"/>
              <a:gd name="connsiteX43" fmla="*/ 5918479 w 5933552"/>
              <a:gd name="connsiteY43" fmla="*/ 1605773 h 2382327"/>
              <a:gd name="connsiteX44" fmla="*/ 5898382 w 5933552"/>
              <a:gd name="connsiteY44" fmla="*/ 1686160 h 2382327"/>
              <a:gd name="connsiteX45" fmla="*/ 5918479 w 5933552"/>
              <a:gd name="connsiteY45" fmla="*/ 1776595 h 2382327"/>
              <a:gd name="connsiteX46" fmla="*/ 5933552 w 5933552"/>
              <a:gd name="connsiteY46" fmla="*/ 1811764 h 2382327"/>
              <a:gd name="connsiteX47" fmla="*/ 5812971 w 5933552"/>
              <a:gd name="connsiteY47" fmla="*/ 1872054 h 2382327"/>
              <a:gd name="connsiteX48" fmla="*/ 5812971 w 5933552"/>
              <a:gd name="connsiteY48" fmla="*/ 1872054 h 2382327"/>
              <a:gd name="connsiteX49" fmla="*/ 5727560 w 5933552"/>
              <a:gd name="connsiteY49" fmla="*/ 1932344 h 2382327"/>
              <a:gd name="connsiteX50" fmla="*/ 5390941 w 5933552"/>
              <a:gd name="connsiteY50" fmla="*/ 1937369 h 2382327"/>
              <a:gd name="connsiteX51" fmla="*/ 5215670 w 5933552"/>
              <a:gd name="connsiteY51" fmla="*/ 1935977 h 2382327"/>
              <a:gd name="connsiteX52" fmla="*/ 4373414 w 5933552"/>
              <a:gd name="connsiteY52" fmla="*/ 1917320 h 2382327"/>
              <a:gd name="connsiteX53" fmla="*/ 1519267 w 5933552"/>
              <a:gd name="connsiteY53" fmla="*/ 1891925 h 2382327"/>
              <a:gd name="connsiteX54" fmla="*/ 619914 w 5933552"/>
              <a:gd name="connsiteY54" fmla="*/ 1836885 h 2382327"/>
              <a:gd name="connsiteX55" fmla="*/ 281354 w 5933552"/>
              <a:gd name="connsiteY55" fmla="*/ 1836885 h 2382327"/>
              <a:gd name="connsiteX56" fmla="*/ 130629 w 5933552"/>
              <a:gd name="connsiteY56" fmla="*/ 1761522 h 2382327"/>
              <a:gd name="connsiteX57" fmla="*/ 10048 w 5933552"/>
              <a:gd name="connsiteY57" fmla="*/ 1681136 h 2382327"/>
              <a:gd name="connsiteX58" fmla="*/ 0 w 5933552"/>
              <a:gd name="connsiteY58" fmla="*/ 1540459 h 2382327"/>
              <a:gd name="connsiteX59" fmla="*/ 15072 w 5933552"/>
              <a:gd name="connsiteY59" fmla="*/ 1490217 h 2382327"/>
              <a:gd name="connsiteX60" fmla="*/ 15072 w 5933552"/>
              <a:gd name="connsiteY60" fmla="*/ 1434951 h 2382327"/>
              <a:gd name="connsiteX61" fmla="*/ 25121 w 5933552"/>
              <a:gd name="connsiteY61" fmla="*/ 1384709 h 2382327"/>
              <a:gd name="connsiteX62" fmla="*/ 40193 w 5933552"/>
              <a:gd name="connsiteY62" fmla="*/ 1359588 h 2382327"/>
              <a:gd name="connsiteX63" fmla="*/ 65314 w 5933552"/>
              <a:gd name="connsiteY63" fmla="*/ 1314371 h 2382327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993"/>
              <a:gd name="connsiteX1" fmla="*/ 75363 w 5933552"/>
              <a:gd name="connsiteY1" fmla="*/ 1083259 h 2234993"/>
              <a:gd name="connsiteX2" fmla="*/ 45218 w 5933552"/>
              <a:gd name="connsiteY2" fmla="*/ 1073210 h 2234993"/>
              <a:gd name="connsiteX3" fmla="*/ 95459 w 5933552"/>
              <a:gd name="connsiteY3" fmla="*/ 887316 h 2234993"/>
              <a:gd name="connsiteX4" fmla="*/ 80387 w 5933552"/>
              <a:gd name="connsiteY4" fmla="*/ 771760 h 2234993"/>
              <a:gd name="connsiteX5" fmla="*/ 85411 w 5933552"/>
              <a:gd name="connsiteY5" fmla="*/ 716494 h 2234993"/>
              <a:gd name="connsiteX6" fmla="*/ 105508 w 5933552"/>
              <a:gd name="connsiteY6" fmla="*/ 696397 h 2234993"/>
              <a:gd name="connsiteX7" fmla="*/ 135653 w 5933552"/>
              <a:gd name="connsiteY7" fmla="*/ 676300 h 2234993"/>
              <a:gd name="connsiteX8" fmla="*/ 467248 w 5933552"/>
              <a:gd name="connsiteY8" fmla="*/ 329632 h 2234993"/>
              <a:gd name="connsiteX9" fmla="*/ 472272 w 5933552"/>
              <a:gd name="connsiteY9" fmla="*/ 284415 h 2234993"/>
              <a:gd name="connsiteX10" fmla="*/ 442127 w 5933552"/>
              <a:gd name="connsiteY10" fmla="*/ 259294 h 2234993"/>
              <a:gd name="connsiteX11" fmla="*/ 406958 w 5933552"/>
              <a:gd name="connsiteY11" fmla="*/ 229149 h 2234993"/>
              <a:gd name="connsiteX12" fmla="*/ 406958 w 5933552"/>
              <a:gd name="connsiteY12" fmla="*/ 204028 h 2234993"/>
              <a:gd name="connsiteX13" fmla="*/ 462224 w 5933552"/>
              <a:gd name="connsiteY13" fmla="*/ 193980 h 2234993"/>
              <a:gd name="connsiteX14" fmla="*/ 864158 w 5933552"/>
              <a:gd name="connsiteY14" fmla="*/ 143738 h 2234993"/>
              <a:gd name="connsiteX15" fmla="*/ 999811 w 5933552"/>
              <a:gd name="connsiteY15" fmla="*/ 88472 h 2234993"/>
              <a:gd name="connsiteX16" fmla="*/ 1024932 w 5933552"/>
              <a:gd name="connsiteY16" fmla="*/ 78424 h 2234993"/>
              <a:gd name="connsiteX17" fmla="*/ 999811 w 5933552"/>
              <a:gd name="connsiteY17" fmla="*/ 28182 h 2234993"/>
              <a:gd name="connsiteX18" fmla="*/ 1070149 w 5933552"/>
              <a:gd name="connsiteY18" fmla="*/ 33206 h 2234993"/>
              <a:gd name="connsiteX19" fmla="*/ 1130439 w 5933552"/>
              <a:gd name="connsiteY19" fmla="*/ 53303 h 2234993"/>
              <a:gd name="connsiteX20" fmla="*/ 1160585 w 5933552"/>
              <a:gd name="connsiteY20" fmla="*/ 63351 h 2234993"/>
              <a:gd name="connsiteX21" fmla="*/ 1683099 w 5933552"/>
              <a:gd name="connsiteY21" fmla="*/ 13109 h 2234993"/>
              <a:gd name="connsiteX22" fmla="*/ 2306097 w 5933552"/>
              <a:gd name="connsiteY22" fmla="*/ 3061 h 2234993"/>
              <a:gd name="connsiteX23" fmla="*/ 3029578 w 5933552"/>
              <a:gd name="connsiteY23" fmla="*/ 58327 h 2234993"/>
              <a:gd name="connsiteX24" fmla="*/ 3135086 w 5933552"/>
              <a:gd name="connsiteY24" fmla="*/ 78424 h 2234993"/>
              <a:gd name="connsiteX25" fmla="*/ 3255666 w 5933552"/>
              <a:gd name="connsiteY25" fmla="*/ 98520 h 2234993"/>
              <a:gd name="connsiteX26" fmla="*/ 3542044 w 5933552"/>
              <a:gd name="connsiteY26" fmla="*/ 183931 h 2234993"/>
              <a:gd name="connsiteX27" fmla="*/ 3798277 w 5933552"/>
              <a:gd name="connsiteY27" fmla="*/ 319584 h 2234993"/>
              <a:gd name="connsiteX28" fmla="*/ 4210259 w 5933552"/>
              <a:gd name="connsiteY28" fmla="*/ 545672 h 2234993"/>
              <a:gd name="connsiteX29" fmla="*/ 4340888 w 5933552"/>
              <a:gd name="connsiteY29" fmla="*/ 626059 h 2234993"/>
              <a:gd name="connsiteX30" fmla="*/ 4381081 w 5933552"/>
              <a:gd name="connsiteY30" fmla="*/ 656204 h 2234993"/>
              <a:gd name="connsiteX31" fmla="*/ 4752870 w 5933552"/>
              <a:gd name="connsiteY31" fmla="*/ 686349 h 2234993"/>
              <a:gd name="connsiteX32" fmla="*/ 5164853 w 5933552"/>
              <a:gd name="connsiteY32" fmla="*/ 761711 h 2234993"/>
              <a:gd name="connsiteX33" fmla="*/ 5441182 w 5933552"/>
              <a:gd name="connsiteY33" fmla="*/ 827026 h 2234993"/>
              <a:gd name="connsiteX34" fmla="*/ 5612004 w 5933552"/>
              <a:gd name="connsiteY34" fmla="*/ 902388 h 2234993"/>
              <a:gd name="connsiteX35" fmla="*/ 5807947 w 5933552"/>
              <a:gd name="connsiteY35" fmla="*/ 1048089 h 2234993"/>
              <a:gd name="connsiteX36" fmla="*/ 5823020 w 5933552"/>
              <a:gd name="connsiteY36" fmla="*/ 1118428 h 2234993"/>
              <a:gd name="connsiteX37" fmla="*/ 5838092 w 5933552"/>
              <a:gd name="connsiteY37" fmla="*/ 1218911 h 2234993"/>
              <a:gd name="connsiteX38" fmla="*/ 5823020 w 5933552"/>
              <a:gd name="connsiteY38" fmla="*/ 1249056 h 2234993"/>
              <a:gd name="connsiteX39" fmla="*/ 5863213 w 5933552"/>
              <a:gd name="connsiteY39" fmla="*/ 1299298 h 2234993"/>
              <a:gd name="connsiteX40" fmla="*/ 5893358 w 5933552"/>
              <a:gd name="connsiteY40" fmla="*/ 1359588 h 2234993"/>
              <a:gd name="connsiteX41" fmla="*/ 5893358 w 5933552"/>
              <a:gd name="connsiteY41" fmla="*/ 1434951 h 2234993"/>
              <a:gd name="connsiteX42" fmla="*/ 5928527 w 5933552"/>
              <a:gd name="connsiteY42" fmla="*/ 1495241 h 2234993"/>
              <a:gd name="connsiteX43" fmla="*/ 5918479 w 5933552"/>
              <a:gd name="connsiteY43" fmla="*/ 1605773 h 2234993"/>
              <a:gd name="connsiteX44" fmla="*/ 5898382 w 5933552"/>
              <a:gd name="connsiteY44" fmla="*/ 1686160 h 2234993"/>
              <a:gd name="connsiteX45" fmla="*/ 5918479 w 5933552"/>
              <a:gd name="connsiteY45" fmla="*/ 1776595 h 2234993"/>
              <a:gd name="connsiteX46" fmla="*/ 5933552 w 5933552"/>
              <a:gd name="connsiteY46" fmla="*/ 1811764 h 2234993"/>
              <a:gd name="connsiteX47" fmla="*/ 5812971 w 5933552"/>
              <a:gd name="connsiteY47" fmla="*/ 1872054 h 2234993"/>
              <a:gd name="connsiteX48" fmla="*/ 5812971 w 5933552"/>
              <a:gd name="connsiteY48" fmla="*/ 1872054 h 2234993"/>
              <a:gd name="connsiteX49" fmla="*/ 5727560 w 5933552"/>
              <a:gd name="connsiteY49" fmla="*/ 1932344 h 2234993"/>
              <a:gd name="connsiteX50" fmla="*/ 5390941 w 5933552"/>
              <a:gd name="connsiteY50" fmla="*/ 1937369 h 2234993"/>
              <a:gd name="connsiteX51" fmla="*/ 5215670 w 5933552"/>
              <a:gd name="connsiteY51" fmla="*/ 1935977 h 2234993"/>
              <a:gd name="connsiteX52" fmla="*/ 4373414 w 5933552"/>
              <a:gd name="connsiteY52" fmla="*/ 1917320 h 2234993"/>
              <a:gd name="connsiteX53" fmla="*/ 1519267 w 5933552"/>
              <a:gd name="connsiteY53" fmla="*/ 1891925 h 2234993"/>
              <a:gd name="connsiteX54" fmla="*/ 619914 w 5933552"/>
              <a:gd name="connsiteY54" fmla="*/ 1836885 h 2234993"/>
              <a:gd name="connsiteX55" fmla="*/ 281354 w 5933552"/>
              <a:gd name="connsiteY55" fmla="*/ 1836885 h 2234993"/>
              <a:gd name="connsiteX56" fmla="*/ 130629 w 5933552"/>
              <a:gd name="connsiteY56" fmla="*/ 1761522 h 2234993"/>
              <a:gd name="connsiteX57" fmla="*/ 10048 w 5933552"/>
              <a:gd name="connsiteY57" fmla="*/ 1681136 h 2234993"/>
              <a:gd name="connsiteX58" fmla="*/ 0 w 5933552"/>
              <a:gd name="connsiteY58" fmla="*/ 1540459 h 2234993"/>
              <a:gd name="connsiteX59" fmla="*/ 15072 w 5933552"/>
              <a:gd name="connsiteY59" fmla="*/ 1490217 h 2234993"/>
              <a:gd name="connsiteX60" fmla="*/ 15072 w 5933552"/>
              <a:gd name="connsiteY60" fmla="*/ 1434951 h 2234993"/>
              <a:gd name="connsiteX61" fmla="*/ 25121 w 5933552"/>
              <a:gd name="connsiteY61" fmla="*/ 1384709 h 2234993"/>
              <a:gd name="connsiteX62" fmla="*/ 40193 w 5933552"/>
              <a:gd name="connsiteY62" fmla="*/ 1359588 h 2234993"/>
              <a:gd name="connsiteX63" fmla="*/ 65314 w 5933552"/>
              <a:gd name="connsiteY63" fmla="*/ 1314371 h 223499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933552" h="2234603">
                <a:moveTo>
                  <a:pt x="65314" y="1314371"/>
                </a:moveTo>
                <a:lnTo>
                  <a:pt x="75363" y="1083259"/>
                </a:lnTo>
                <a:lnTo>
                  <a:pt x="45218" y="1073210"/>
                </a:lnTo>
                <a:lnTo>
                  <a:pt x="95459" y="887316"/>
                </a:lnTo>
                <a:lnTo>
                  <a:pt x="80387" y="771760"/>
                </a:lnTo>
                <a:lnTo>
                  <a:pt x="85411" y="716494"/>
                </a:lnTo>
                <a:lnTo>
                  <a:pt x="105508" y="696397"/>
                </a:lnTo>
                <a:lnTo>
                  <a:pt x="135653" y="676300"/>
                </a:lnTo>
                <a:lnTo>
                  <a:pt x="467248" y="329632"/>
                </a:lnTo>
                <a:lnTo>
                  <a:pt x="472272" y="284415"/>
                </a:lnTo>
                <a:lnTo>
                  <a:pt x="442127" y="259294"/>
                </a:lnTo>
                <a:lnTo>
                  <a:pt x="406958" y="229149"/>
                </a:lnTo>
                <a:lnTo>
                  <a:pt x="406958" y="204028"/>
                </a:lnTo>
                <a:lnTo>
                  <a:pt x="462224" y="193980"/>
                </a:lnTo>
                <a:lnTo>
                  <a:pt x="864158" y="143738"/>
                </a:lnTo>
                <a:lnTo>
                  <a:pt x="999811" y="88472"/>
                </a:lnTo>
                <a:lnTo>
                  <a:pt x="1024932" y="78424"/>
                </a:lnTo>
                <a:lnTo>
                  <a:pt x="999811" y="28182"/>
                </a:lnTo>
                <a:lnTo>
                  <a:pt x="1070149" y="33206"/>
                </a:lnTo>
                <a:lnTo>
                  <a:pt x="1130439" y="53303"/>
                </a:lnTo>
                <a:lnTo>
                  <a:pt x="1160585" y="63351"/>
                </a:lnTo>
                <a:cubicBezTo>
                  <a:pt x="1252695" y="56652"/>
                  <a:pt x="1492180" y="23157"/>
                  <a:pt x="1683099" y="13109"/>
                </a:cubicBezTo>
                <a:cubicBezTo>
                  <a:pt x="1874018" y="3061"/>
                  <a:pt x="2081684" y="-4475"/>
                  <a:pt x="2306097" y="3061"/>
                </a:cubicBezTo>
                <a:cubicBezTo>
                  <a:pt x="2530510" y="10597"/>
                  <a:pt x="2891413" y="45767"/>
                  <a:pt x="3029578" y="58327"/>
                </a:cubicBezTo>
                <a:cubicBezTo>
                  <a:pt x="3167743" y="70887"/>
                  <a:pt x="3099917" y="71725"/>
                  <a:pt x="3135086" y="78424"/>
                </a:cubicBezTo>
                <a:lnTo>
                  <a:pt x="3255666" y="98520"/>
                </a:lnTo>
                <a:cubicBezTo>
                  <a:pt x="3323492" y="116105"/>
                  <a:pt x="3456633" y="138713"/>
                  <a:pt x="3542044" y="183931"/>
                </a:cubicBezTo>
                <a:lnTo>
                  <a:pt x="3798277" y="319584"/>
                </a:lnTo>
                <a:lnTo>
                  <a:pt x="4210259" y="545672"/>
                </a:lnTo>
                <a:lnTo>
                  <a:pt x="4340888" y="626059"/>
                </a:lnTo>
                <a:lnTo>
                  <a:pt x="4381081" y="656204"/>
                </a:lnTo>
                <a:cubicBezTo>
                  <a:pt x="4449745" y="666252"/>
                  <a:pt x="4622241" y="668765"/>
                  <a:pt x="4752870" y="686349"/>
                </a:cubicBezTo>
                <a:cubicBezTo>
                  <a:pt x="4883499" y="703933"/>
                  <a:pt x="5072743" y="739939"/>
                  <a:pt x="5164853" y="761711"/>
                </a:cubicBezTo>
                <a:lnTo>
                  <a:pt x="5441182" y="827026"/>
                </a:lnTo>
                <a:cubicBezTo>
                  <a:pt x="5515707" y="850472"/>
                  <a:pt x="5546690" y="853821"/>
                  <a:pt x="5612004" y="902388"/>
                </a:cubicBezTo>
                <a:lnTo>
                  <a:pt x="5807947" y="1048089"/>
                </a:lnTo>
                <a:lnTo>
                  <a:pt x="5823020" y="1118428"/>
                </a:lnTo>
                <a:lnTo>
                  <a:pt x="5838092" y="1218911"/>
                </a:lnTo>
                <a:lnTo>
                  <a:pt x="5823020" y="1249056"/>
                </a:lnTo>
                <a:lnTo>
                  <a:pt x="5863213" y="1299298"/>
                </a:lnTo>
                <a:lnTo>
                  <a:pt x="5893358" y="1359588"/>
                </a:lnTo>
                <a:lnTo>
                  <a:pt x="5893358" y="1434951"/>
                </a:lnTo>
                <a:lnTo>
                  <a:pt x="5928527" y="1495241"/>
                </a:lnTo>
                <a:lnTo>
                  <a:pt x="5918479" y="1605773"/>
                </a:lnTo>
                <a:lnTo>
                  <a:pt x="5898382" y="1686160"/>
                </a:lnTo>
                <a:lnTo>
                  <a:pt x="5918479" y="1776595"/>
                </a:lnTo>
                <a:lnTo>
                  <a:pt x="5933552" y="1811764"/>
                </a:lnTo>
                <a:lnTo>
                  <a:pt x="5812971" y="1872054"/>
                </a:lnTo>
                <a:lnTo>
                  <a:pt x="5812971" y="1872054"/>
                </a:lnTo>
                <a:lnTo>
                  <a:pt x="5727560" y="1932344"/>
                </a:lnTo>
                <a:lnTo>
                  <a:pt x="5390941" y="1937369"/>
                </a:lnTo>
                <a:lnTo>
                  <a:pt x="5215670" y="1935977"/>
                </a:lnTo>
                <a:cubicBezTo>
                  <a:pt x="5196897" y="2172352"/>
                  <a:pt x="4604352" y="2477916"/>
                  <a:pt x="4373414" y="1917320"/>
                </a:cubicBezTo>
                <a:lnTo>
                  <a:pt x="1498817" y="1891925"/>
                </a:lnTo>
                <a:cubicBezTo>
                  <a:pt x="1475302" y="2265499"/>
                  <a:pt x="727844" y="2429891"/>
                  <a:pt x="619914" y="1836885"/>
                </a:cubicBezTo>
                <a:lnTo>
                  <a:pt x="281354" y="1836885"/>
                </a:lnTo>
                <a:lnTo>
                  <a:pt x="130629" y="1761522"/>
                </a:lnTo>
                <a:lnTo>
                  <a:pt x="10048" y="1681136"/>
                </a:lnTo>
                <a:lnTo>
                  <a:pt x="0" y="1540459"/>
                </a:lnTo>
                <a:lnTo>
                  <a:pt x="15072" y="1490217"/>
                </a:lnTo>
                <a:lnTo>
                  <a:pt x="15072" y="1434951"/>
                </a:lnTo>
                <a:lnTo>
                  <a:pt x="25121" y="1384709"/>
                </a:lnTo>
                <a:lnTo>
                  <a:pt x="40193" y="1359588"/>
                </a:lnTo>
                <a:lnTo>
                  <a:pt x="65314" y="1314371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1Z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3807246" y="5254479"/>
            <a:ext cx="2137025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AVP equipped vehicle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2FE0E05F-5908-4A42-B43D-6B5B65C67E33}"/>
              </a:ext>
            </a:extLst>
          </p:cNvPr>
          <p:cNvSpPr txBox="1"/>
          <p:nvPr/>
        </p:nvSpPr>
        <p:spPr>
          <a:xfrm>
            <a:off x="5757816" y="1822717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peopl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F80BE4D-246F-4B88-B21F-AB37B1D0BB69}"/>
              </a:ext>
            </a:extLst>
          </p:cNvPr>
          <p:cNvSpPr txBox="1"/>
          <p:nvPr/>
        </p:nvSpPr>
        <p:spPr>
          <a:xfrm>
            <a:off x="8088812" y="1836587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goo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A12E5F-827B-4CD5-8F66-5287F3B6AE36}"/>
              </a:ext>
            </a:extLst>
          </p:cNvPr>
          <p:cNvSpPr txBox="1"/>
          <p:nvPr/>
        </p:nvSpPr>
        <p:spPr>
          <a:xfrm>
            <a:off x="8040216" y="2479245"/>
            <a:ext cx="2141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or w/o passengers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6B56E72B-3CA4-4D63-BCB1-D93C052B28AA}"/>
              </a:ext>
            </a:extLst>
          </p:cNvPr>
          <p:cNvSpPr txBox="1"/>
          <p:nvPr/>
        </p:nvSpPr>
        <p:spPr>
          <a:xfrm>
            <a:off x="5672277" y="4218222"/>
            <a:ext cx="208098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than 9 seats or standing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engers, GVM Max. 5t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33DFAEA3-56ED-4DE3-AE04-F9DB8D0FBEAB}"/>
              </a:ext>
            </a:extLst>
          </p:cNvPr>
          <p:cNvSpPr txBox="1"/>
          <p:nvPr/>
        </p:nvSpPr>
        <p:spPr>
          <a:xfrm>
            <a:off x="5883159" y="3276251"/>
            <a:ext cx="166682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ted only, max. 9 seats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34A456A7-3BFA-49C5-8961-0FA979D81B98}"/>
              </a:ext>
            </a:extLst>
          </p:cNvPr>
          <p:cNvSpPr txBox="1"/>
          <p:nvPr/>
        </p:nvSpPr>
        <p:spPr>
          <a:xfrm>
            <a:off x="5725851" y="5238541"/>
            <a:ext cx="204404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than 9 seats or stand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engers, GVM exceeding. 5t</a:t>
            </a:r>
          </a:p>
        </p:txBody>
      </p:sp>
      <p:sp>
        <p:nvSpPr>
          <p:cNvPr id="193" name="Right Brace 192"/>
          <p:cNvSpPr/>
          <p:nvPr/>
        </p:nvSpPr>
        <p:spPr>
          <a:xfrm rot="16200000">
            <a:off x="8820533" y="-1478478"/>
            <a:ext cx="226118" cy="6296678"/>
          </a:xfrm>
          <a:prstGeom prst="rightBrace">
            <a:avLst>
              <a:gd name="adj1" fmla="val 58445"/>
              <a:gd name="adj2" fmla="val 49937"/>
            </a:avLst>
          </a:prstGeom>
          <a:ln w="28575">
            <a:solidFill>
              <a:schemeClr val="accent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6397818" y="1238143"/>
            <a:ext cx="50755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category A „Driverless Vehicles with ADS“</a:t>
            </a:r>
          </a:p>
        </p:txBody>
      </p:sp>
      <p:sp>
        <p:nvSpPr>
          <p:cNvPr id="197" name="Right Brace 196"/>
          <p:cNvSpPr/>
          <p:nvPr/>
        </p:nvSpPr>
        <p:spPr>
          <a:xfrm rot="16200000">
            <a:off x="7898076" y="-2816869"/>
            <a:ext cx="226118" cy="7938013"/>
          </a:xfrm>
          <a:prstGeom prst="rightBrace">
            <a:avLst>
              <a:gd name="adj1" fmla="val 58445"/>
              <a:gd name="adj2" fmla="val 49937"/>
            </a:avLst>
          </a:prstGeom>
          <a:ln w="28575">
            <a:solidFill>
              <a:schemeClr val="accent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8088812" y="2760959"/>
            <a:ext cx="2039212" cy="6623"/>
          </a:xfrm>
          <a:prstGeom prst="line">
            <a:avLst/>
          </a:prstGeom>
          <a:solidFill>
            <a:schemeClr val="accent2">
              <a:lumMod val="20000"/>
              <a:lumOff val="80000"/>
              <a:alpha val="69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Rectangle 4"/>
          <p:cNvSpPr/>
          <p:nvPr/>
        </p:nvSpPr>
        <p:spPr>
          <a:xfrm>
            <a:off x="4321339" y="2562354"/>
            <a:ext cx="1126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i="1" dirty="0">
                <a:solidFill>
                  <a:srgbClr val="ED7D31">
                    <a:lumMod val="75000"/>
                  </a:srgbClr>
                </a:solidFill>
                <a:latin typeface="Calibri" panose="020F0502020204030204"/>
              </a:rPr>
              <a:t>Examples: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10527431" y="2541537"/>
            <a:ext cx="1126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i="1" dirty="0">
                <a:solidFill>
                  <a:srgbClr val="ED7D31">
                    <a:lumMod val="75000"/>
                  </a:srgbClr>
                </a:solidFill>
                <a:latin typeface="Calibri" panose="020F0502020204030204"/>
              </a:rPr>
              <a:t>Examples:</a:t>
            </a:r>
          </a:p>
        </p:txBody>
      </p:sp>
    </p:spTree>
    <p:extLst>
      <p:ext uri="{BB962C8B-B14F-4D97-AF65-F5344CB8AC3E}">
        <p14:creationId xmlns:p14="http://schemas.microsoft.com/office/powerpoint/2010/main" val="3589488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8</a:t>
            </a:fld>
            <a:endParaRPr lang="en-GB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663" y="0"/>
            <a:ext cx="9044796" cy="6356350"/>
          </a:xfrm>
          <a:prstGeom prst="rect">
            <a:avLst/>
          </a:prstGeom>
        </p:spPr>
      </p:pic>
      <p:sp>
        <p:nvSpPr>
          <p:cNvPr id="2" name="Tijdelijke aanduiding voor voet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35961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0DE19839-B8CF-DBC3-48CE-B4FBE9978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883" y="1396841"/>
            <a:ext cx="4909387" cy="3422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6C382D54-3435-F9D9-141D-B31E36947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FC1543E-33F1-E2CE-2D8B-23962758D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9</a:t>
            </a:fld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E81FF0F-2ACD-B09C-8B4F-4A643F2D2A6C}"/>
              </a:ext>
            </a:extLst>
          </p:cNvPr>
          <p:cNvSpPr txBox="1">
            <a:spLocks/>
          </p:cNvSpPr>
          <p:nvPr/>
        </p:nvSpPr>
        <p:spPr>
          <a:xfrm>
            <a:off x="758825" y="769620"/>
            <a:ext cx="4038600" cy="1254443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CI-model</a:t>
            </a:r>
            <a:br>
              <a:rPr lang="en-GB" dirty="0"/>
            </a:br>
            <a:r>
              <a:rPr lang="en-GB" sz="2000" dirty="0"/>
              <a:t>Task Capability Interface Model (Simplified)</a:t>
            </a:r>
            <a:br>
              <a:rPr lang="en-GB" sz="2000" dirty="0"/>
            </a:br>
            <a:r>
              <a:rPr lang="en-GB" sz="2000" dirty="0"/>
              <a:t>Fuller, 2000</a:t>
            </a:r>
            <a:br>
              <a:rPr lang="en-GB" sz="2000" dirty="0"/>
            </a:br>
            <a:r>
              <a:rPr lang="en-GB" sz="1300" dirty="0"/>
              <a:t>For reference and to explain complex traffic situations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20B7993D-A81B-7B82-6A7D-16FFB56DB6F1}"/>
              </a:ext>
            </a:extLst>
          </p:cNvPr>
          <p:cNvSpPr/>
          <p:nvPr/>
        </p:nvSpPr>
        <p:spPr>
          <a:xfrm>
            <a:off x="5346702" y="2746109"/>
            <a:ext cx="6477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AV control</a:t>
            </a:r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D4417006-C99C-D187-8F0F-557530E14576}"/>
              </a:ext>
            </a:extLst>
          </p:cNvPr>
          <p:cNvGrpSpPr/>
          <p:nvPr/>
        </p:nvGrpSpPr>
        <p:grpSpPr>
          <a:xfrm>
            <a:off x="5868992" y="3738937"/>
            <a:ext cx="3778082" cy="1532466"/>
            <a:chOff x="6108689" y="3650160"/>
            <a:chExt cx="3778082" cy="1532466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0B70DB3C-0199-6ABD-0E68-9D4E85957EB0}"/>
                </a:ext>
              </a:extLst>
            </p:cNvPr>
            <p:cNvSpPr/>
            <p:nvPr/>
          </p:nvSpPr>
          <p:spPr>
            <a:xfrm rot="19856290">
              <a:off x="7984577" y="3650160"/>
              <a:ext cx="1902194" cy="301841"/>
            </a:xfrm>
            <a:prstGeom prst="rect">
              <a:avLst/>
            </a:prstGeom>
            <a:ln w="38100">
              <a:solidFill>
                <a:srgbClr val="5B9BD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/>
                <a:t>R28</a:t>
              </a:r>
            </a:p>
          </p:txBody>
        </p:sp>
        <p:sp>
          <p:nvSpPr>
            <p:cNvPr id="5" name="Rechthoek 4">
              <a:extLst>
                <a:ext uri="{FF2B5EF4-FFF2-40B4-BE49-F238E27FC236}">
                  <a16:creationId xmlns:a16="http://schemas.microsoft.com/office/drawing/2014/main" id="{3534E55E-51DD-411C-707E-093605B593AD}"/>
                </a:ext>
              </a:extLst>
            </p:cNvPr>
            <p:cNvSpPr/>
            <p:nvPr/>
          </p:nvSpPr>
          <p:spPr>
            <a:xfrm rot="19856290">
              <a:off x="6108689" y="4880785"/>
              <a:ext cx="1225038" cy="301841"/>
            </a:xfrm>
            <a:prstGeom prst="rect">
              <a:avLst/>
            </a:prstGeom>
            <a:ln w="38100">
              <a:solidFill>
                <a:srgbClr val="5B9BD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/>
                <a:t>R138</a:t>
              </a:r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A2E53E47-B2AE-DC36-931A-720AFCBAC3D8}"/>
                </a:ext>
              </a:extLst>
            </p:cNvPr>
            <p:cNvSpPr/>
            <p:nvPr/>
          </p:nvSpPr>
          <p:spPr>
            <a:xfrm rot="19856290">
              <a:off x="7086345" y="4353043"/>
              <a:ext cx="1169032" cy="301841"/>
            </a:xfrm>
            <a:prstGeom prst="rect">
              <a:avLst/>
            </a:prstGeom>
            <a:ln w="38100">
              <a:solidFill>
                <a:srgbClr val="5B9BD5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6266782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SIG </a:t>
            </a:r>
            <a:r>
              <a:rPr lang="nl-NL" sz="3600" b="1" dirty="0" err="1"/>
              <a:t>Automated</a:t>
            </a:r>
            <a:r>
              <a:rPr lang="nl-NL" sz="3600" b="1" dirty="0"/>
              <a:t> </a:t>
            </a:r>
            <a:r>
              <a:rPr lang="nl-NL" sz="3600" b="1" dirty="0" err="1"/>
              <a:t>Vehicles</a:t>
            </a:r>
            <a:r>
              <a:rPr lang="nl-NL" sz="3600" b="1" dirty="0"/>
              <a:t> </a:t>
            </a:r>
            <a:r>
              <a:rPr lang="nl-NL" sz="3600" b="1" dirty="0" err="1"/>
              <a:t>Regulation</a:t>
            </a:r>
            <a:r>
              <a:rPr lang="nl-NL" sz="3600" b="1" dirty="0"/>
              <a:t> Screening</a:t>
            </a:r>
            <a:endParaRPr lang="en-GB" sz="3600" b="1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7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387150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12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808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chemeClr val="accent6"/>
                </a:solidFill>
              </a:rPr>
              <a:t>Web-meetings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20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October 2023 (virtual)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30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October 2023 (virtual)</a:t>
            </a:r>
            <a:endParaRPr lang="nl-NL" sz="1100" dirty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7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November 2023 (hybrid) ACEA building </a:t>
            </a:r>
            <a:r>
              <a:rPr lang="en-US" sz="1100" dirty="0" err="1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Bruxelles</a:t>
            </a:r>
            <a:endParaRPr lang="nl-NL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13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November 2023(virtual)</a:t>
            </a:r>
            <a:endParaRPr lang="nl-NL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20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November 2023 (virtual)</a:t>
            </a:r>
            <a:endParaRPr lang="nl-NL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4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December 2023 (virtual)</a:t>
            </a:r>
            <a:endParaRPr lang="nl-NL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18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December 2023 (virtual)</a:t>
            </a:r>
            <a:endParaRPr lang="nl-NL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15</a:t>
            </a:r>
            <a:r>
              <a:rPr lang="en-US" sz="1100" baseline="30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</a:t>
            </a:r>
            <a:r>
              <a:rPr lang="en-US" sz="11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of January 2024 (virtual)</a:t>
            </a:r>
          </a:p>
          <a:p>
            <a:r>
              <a:rPr lang="en-GB" sz="1100" dirty="0"/>
              <a:t>Guidance meetings with GRVA FADS</a:t>
            </a:r>
          </a:p>
          <a:p>
            <a:r>
              <a:rPr lang="en-GB" sz="1100" dirty="0"/>
              <a:t>Sept – Nov  2023 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295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Ps:</a:t>
            </a:r>
            <a:br>
              <a:rPr lang="de-DE" dirty="0"/>
            </a:br>
            <a:r>
              <a:rPr lang="de-DE" dirty="0"/>
              <a:t>Germany, Japan, The </a:t>
            </a:r>
            <a:r>
              <a:rPr lang="de-DE" dirty="0" err="1"/>
              <a:t>Netherlan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GO‘s: </a:t>
            </a:r>
            <a:br>
              <a:rPr lang="de-DE" dirty="0"/>
            </a:br>
            <a:r>
              <a:rPr lang="de-DE" dirty="0"/>
              <a:t>OICA, JASIC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AC0D0D-3053-F3D4-5C55-60FFCA0E1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line other regs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2A28191-28AD-A56E-B423-98E2C776D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EBB23A6-0D25-A706-988B-295EF925C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20</a:t>
            </a:fld>
            <a:endParaRPr lang="en-GB"/>
          </a:p>
        </p:txBody>
      </p:sp>
      <p:graphicFrame>
        <p:nvGraphicFramePr>
          <p:cNvPr id="6" name="Tabel 6">
            <a:extLst>
              <a:ext uri="{FF2B5EF4-FFF2-40B4-BE49-F238E27FC236}">
                <a16:creationId xmlns:a16="http://schemas.microsoft.com/office/drawing/2014/main" id="{82DDEB0C-D073-0510-2FF6-64990D748D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117062"/>
              </p:ext>
            </p:extLst>
          </p:nvPr>
        </p:nvGraphicFramePr>
        <p:xfrm>
          <a:off x="838200" y="2379653"/>
          <a:ext cx="10669173" cy="266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6391">
                  <a:extLst>
                    <a:ext uri="{9D8B030D-6E8A-4147-A177-3AD203B41FA5}">
                      <a16:colId xmlns:a16="http://schemas.microsoft.com/office/drawing/2014/main" val="3315577674"/>
                    </a:ext>
                  </a:extLst>
                </a:gridCol>
                <a:gridCol w="3556391">
                  <a:extLst>
                    <a:ext uri="{9D8B030D-6E8A-4147-A177-3AD203B41FA5}">
                      <a16:colId xmlns:a16="http://schemas.microsoft.com/office/drawing/2014/main" val="3304724476"/>
                    </a:ext>
                  </a:extLst>
                </a:gridCol>
                <a:gridCol w="3556391">
                  <a:extLst>
                    <a:ext uri="{9D8B030D-6E8A-4147-A177-3AD203B41FA5}">
                      <a16:colId xmlns:a16="http://schemas.microsoft.com/office/drawing/2014/main" val="4037780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ema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53260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ept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Conceptual approach based on priority regulations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9917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ept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formal docu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Where test method of regulation can be used for AV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8057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2005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21185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6986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47137"/>
          </a:xfrm>
        </p:spPr>
        <p:txBody>
          <a:bodyPr vert="horz">
            <a:normAutofit/>
          </a:bodyPr>
          <a:lstStyle/>
          <a:p>
            <a:r>
              <a:rPr lang="de-DE" sz="3600" b="1" dirty="0"/>
              <a:t>SIG </a:t>
            </a:r>
            <a:r>
              <a:rPr lang="de-DE" sz="3600" b="1" dirty="0" err="1"/>
              <a:t>Automated</a:t>
            </a:r>
            <a:r>
              <a:rPr lang="de-DE" sz="3600" b="1" dirty="0"/>
              <a:t> </a:t>
            </a:r>
            <a:r>
              <a:rPr lang="de-DE" sz="3600" b="1" dirty="0" err="1"/>
              <a:t>Vehicles</a:t>
            </a:r>
            <a:r>
              <a:rPr lang="de-DE" sz="3600" b="1" dirty="0"/>
              <a:t> Regulation Screening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2769094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3768739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958142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pdate of GRBP regulations to facilitate the Type Approval of AVs</a:t>
            </a:r>
          </a:p>
          <a:p>
            <a:r>
              <a:rPr lang="en-US" sz="1600" dirty="0"/>
              <a:t>Considering:</a:t>
            </a:r>
            <a:endParaRPr lang="en-US" sz="1400" dirty="0"/>
          </a:p>
          <a:p>
            <a:pPr marL="465750" lvl="1" indent="-285750"/>
            <a:r>
              <a:rPr lang="en-US" sz="1600" dirty="0"/>
              <a:t>TF-FADS suggests proposals for amendments to be submitted in 2024 </a:t>
            </a:r>
          </a:p>
          <a:p>
            <a:pPr marL="465750" lvl="1" indent="-285750"/>
            <a:r>
              <a:rPr lang="en-US" sz="1600" dirty="0"/>
              <a:t>TF-FADS (GRVA) provides further guidance 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849513"/>
            <a:ext cx="6196119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Netherl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32196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3821291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0087308</a:t>
            </a:r>
            <a:r>
              <a:rPr lang="de-DE" dirty="0"/>
              <a:t>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3821291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SIG 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14" name="Tijdelijke aanduiding voor inhoud 2"/>
          <p:cNvSpPr txBox="1">
            <a:spLocks/>
          </p:cNvSpPr>
          <p:nvPr/>
        </p:nvSpPr>
        <p:spPr>
          <a:xfrm>
            <a:off x="838200" y="4561412"/>
            <a:ext cx="10515600" cy="175575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b="1" dirty="0"/>
              <a:t>Documentation: </a:t>
            </a:r>
            <a:endParaRPr lang="en-US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port of the World Forum for Harmonization of Vehicle Regulations on its </a:t>
            </a:r>
            <a:r>
              <a:rPr lang="en-US" sz="1000" u="sng" dirty="0">
                <a:hlinkClick r:id="rId7"/>
              </a:rPr>
              <a:t>187th session</a:t>
            </a:r>
            <a:r>
              <a:rPr lang="en-US" sz="1000" dirty="0"/>
              <a:t> pg.8/9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19. AC.2 received an update on the work of GRVA and automated vehicles related activities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(e) AC.2 recommended the GRs to consider using the template in </a:t>
            </a:r>
            <a:r>
              <a:rPr lang="en-US" sz="1000" u="sng" dirty="0">
                <a:hlinkClick r:id="rId8"/>
              </a:rPr>
              <a:t>GRVA-13-18</a:t>
            </a:r>
            <a:r>
              <a:rPr lang="en-US" sz="1000" dirty="0"/>
              <a:t> when screening UN GTRs and UN Regulations with regards to AD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ference:</a:t>
            </a:r>
            <a:endParaRPr lang="en-US" sz="1000" dirty="0">
              <a:hlinkClick r:id="rId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u="sng" dirty="0">
                <a:hlinkClick r:id="rId7"/>
              </a:rPr>
              <a:t>https://unece.org/sites/default/files/2022-07/ECE-TRANS-WP29-1166e_0.pdf</a:t>
            </a:r>
            <a:endParaRPr lang="en-US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u="sng" dirty="0">
                <a:hlinkClick r:id="rId8"/>
              </a:rPr>
              <a:t>https://unece.org/sites/default/files/2022-05/GRVA-13-18e.pdf</a:t>
            </a:r>
            <a:endParaRPr lang="en-US" sz="1000" u="sng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000" dirty="0"/>
              <a:t>Report GRVA FADS from WP29  June 2023: </a:t>
            </a:r>
            <a:r>
              <a:rPr lang="en-GB" sz="1000" dirty="0">
                <a:hlinkClick r:id="rId9"/>
              </a:rPr>
              <a:t>https://unece.org/sites/default/files/2023-06/ECE-TRANS-WP.29-2023-86e.pdf</a:t>
            </a:r>
            <a:r>
              <a:rPr lang="en-GB" sz="1000" dirty="0"/>
              <a:t> </a:t>
            </a:r>
            <a:endParaRPr lang="en-US" sz="11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port WP29 190</a:t>
            </a:r>
            <a:r>
              <a:rPr lang="en-US" sz="1000" baseline="30000" dirty="0"/>
              <a:t>th</a:t>
            </a:r>
            <a:r>
              <a:rPr lang="en-US" sz="1000" dirty="0"/>
              <a:t> meeting, June 2023: </a:t>
            </a:r>
            <a:r>
              <a:rPr lang="en-GB" sz="1000" dirty="0">
                <a:hlinkClick r:id="rId10"/>
              </a:rPr>
              <a:t>https://unece.org/sites/default/files/2023-07/ECE_TRANS_WP.29_1173e_0.pdf </a:t>
            </a:r>
            <a:r>
              <a:rPr lang="en-GB" sz="1000" dirty="0"/>
              <a:t>items 25 to 32.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061D5E-DD43-1B21-0F4F-CB086049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al for Guideline and upgrade to TF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23CA6B5-826D-7688-5F39-411F78DD0C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31750" cy="371404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The objectives of the task force are to:</a:t>
            </a:r>
          </a:p>
          <a:p>
            <a:pPr marL="514350" indent="-514350">
              <a:buFont typeface="+mj-lt"/>
              <a:buAutoNum type="alphaLcPeriod"/>
            </a:pPr>
            <a:r>
              <a:rPr lang="en-US" dirty="0"/>
              <a:t>Update GRBP regulations to facilitate Type Approval of AVs</a:t>
            </a:r>
          </a:p>
          <a:p>
            <a:pPr marL="514350" indent="-514350">
              <a:buFont typeface="+mj-lt"/>
              <a:buAutoNum type="alphaLcPeriod"/>
            </a:pPr>
            <a:r>
              <a:rPr lang="en-US" dirty="0"/>
              <a:t>Align the work of TF-AVRS with the GRVA TF-FADS and other GRs</a:t>
            </a:r>
          </a:p>
          <a:p>
            <a:pPr marL="514350" indent="-514350">
              <a:buFont typeface="+mj-lt"/>
              <a:buAutoNum type="alphaLcPeriod"/>
            </a:pPr>
            <a:r>
              <a:rPr lang="en-US" dirty="0"/>
              <a:t>Consider the activities and results of GRVA IWGs VMAD and FRAV</a:t>
            </a:r>
          </a:p>
          <a:p>
            <a:pPr marL="514350" indent="-514350">
              <a:buFont typeface="+mj-lt"/>
              <a:buAutoNum type="alphaLcPeriod"/>
            </a:pPr>
            <a:r>
              <a:rPr lang="en-US" dirty="0"/>
              <a:t>Propose amendments to the R28, R51, R138 to facilitate the approval of AVs</a:t>
            </a:r>
          </a:p>
          <a:p>
            <a:pPr marL="514350" indent="-514350">
              <a:buFont typeface="+mj-lt"/>
              <a:buAutoNum type="alphaLcPeriod"/>
            </a:pPr>
            <a:r>
              <a:rPr lang="en-US" dirty="0"/>
              <a:t>Present a timeline for the amendments of other relevant regulations under the responsibility of GRBP</a:t>
            </a:r>
          </a:p>
          <a:p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C937CFF-8FD8-99AF-A115-CCE0CC922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48E16D8-0247-16AF-7461-E614B3107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EE7AE92-3102-2B1F-E231-24F93D9A7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5876784"/>
            <a:ext cx="6825395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nl-NL" sz="9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cs typeface="Arial" panose="020B0604020202020204" pitchFamily="34" charset="0"/>
              </a:rPr>
              <a:t>Documentatio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nl-NL" sz="9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cs typeface="Arial" panose="020B0604020202020204" pitchFamily="34" charset="0"/>
              </a:rPr>
              <a:t>GRBP-79-03 -</a:t>
            </a:r>
            <a:r>
              <a:rPr kumimoji="0" lang="en-GB" altLang="nl-NL" sz="1200" b="1" i="0" u="none" strike="noStrike" cap="none" normalizeH="0" baseline="0" dirty="0">
                <a:ln>
                  <a:noFill/>
                </a:ln>
                <a:solidFill>
                  <a:srgbClr val="333333"/>
                </a:solidFill>
                <a:effectLst/>
                <a:cs typeface="Arial" panose="020B0604020202020204" pitchFamily="34" charset="0"/>
              </a:rPr>
              <a:t> </a:t>
            </a:r>
            <a:r>
              <a:rPr kumimoji="0" lang="en-GB" altLang="nl-NL" sz="1200" b="0" i="0" u="none" strike="noStrike" cap="none" normalizeH="0" baseline="0" dirty="0">
                <a:ln>
                  <a:noFill/>
                </a:ln>
                <a:solidFill>
                  <a:srgbClr val="005894"/>
                </a:solidFill>
                <a:effectLst/>
                <a:cs typeface="Arial" panose="020B0604020202020204" pitchFamily="34" charset="0"/>
                <a:hlinkClick r:id="rId2"/>
              </a:rPr>
              <a:t>(SIG AVRS) Guidelines of the Task Force on Automated Vehicle Regulation Screening</a:t>
            </a:r>
            <a:r>
              <a:rPr kumimoji="0" lang="en-GB" altLang="nl-NL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GB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23301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7DB4C5-596F-50F3-B300-0D7AF51C5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ign with EU-approach (EC2022R2236)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76DCF27-ED02-34F5-6607-11F01AB5E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634687C-9387-6AD7-549A-AEF78E50B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0A55CD98-6E06-2488-C962-12B91776AE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1520"/>
            <a:ext cx="12192000" cy="361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6373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4C3A1D-82D9-ABBC-C3DA-D19DFB02D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ign with EU-approach (EC2022R2236)</a:t>
            </a:r>
            <a:br>
              <a:rPr lang="en-GB" dirty="0"/>
            </a:br>
            <a:r>
              <a:rPr lang="en-GB" sz="3200" dirty="0"/>
              <a:t>Main categories of AVs</a:t>
            </a:r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42C3626-BD90-99E5-37C9-F13329871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EA265AC-1314-1A86-0843-EDF12106FD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6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326A577-3D25-F7F3-DCFB-CBCCC992AF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933" y="2243450"/>
            <a:ext cx="10537868" cy="2450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C5B5DA-DAEF-DFF4-335D-F17EC2575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ign with EU-approach (EC2022R2236)</a:t>
            </a:r>
            <a:br>
              <a:rPr lang="en-GB" dirty="0"/>
            </a:br>
            <a:r>
              <a:rPr lang="en-GB" sz="3200" dirty="0"/>
              <a:t>In detail</a:t>
            </a:r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16E73BD-4475-5AA3-9772-C874EFC75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C631677-B9DC-551B-7F6E-E292EC3F5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7</a:t>
            </a:fld>
            <a:endParaRPr lang="en-GB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4FB876E-2430-2C93-CAFE-B0DD0B861C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55463"/>
            <a:ext cx="12192000" cy="452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535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95E2E-C01A-AFE6-C0A9-89FD7EBCF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ority Regula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BA32AC6-0AAA-69CF-3290-129851ED59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4 types of solutions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/>
              <a:t>R28 – Horn</a:t>
            </a:r>
          </a:p>
          <a:p>
            <a:pPr marL="457200" lvl="1" indent="0">
              <a:buNone/>
            </a:pPr>
            <a:r>
              <a:rPr lang="en-GB" dirty="0"/>
              <a:t>	Activation by the ADS is required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/>
              <a:t>R51 – Noise</a:t>
            </a:r>
          </a:p>
          <a:p>
            <a:pPr marL="457200" lvl="1" indent="0">
              <a:buNone/>
            </a:pPr>
            <a:r>
              <a:rPr lang="en-GB" dirty="0"/>
              <a:t>	Test mode to be required in ADS, adaption of test road (lining)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/>
              <a:t>R138 - QRTV</a:t>
            </a:r>
          </a:p>
          <a:p>
            <a:pPr marL="457200" lvl="1" indent="0">
              <a:buNone/>
            </a:pPr>
            <a:r>
              <a:rPr lang="en-GB" dirty="0"/>
              <a:t>	Regulations only needs minor amendments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/>
              <a:t>R141 – TPMS (not in priority list yet)</a:t>
            </a:r>
          </a:p>
          <a:p>
            <a:pPr marL="457200" lvl="1" indent="0">
              <a:buNone/>
            </a:pPr>
            <a:r>
              <a:rPr lang="en-GB" dirty="0"/>
              <a:t>	ADS must receive the TPMS input</a:t>
            </a:r>
          </a:p>
          <a:p>
            <a:pPr lvl="1"/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BDEFAFC-45A2-9E2A-AB7E-592FD9705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C77E6A9-CCCD-DCD8-E62A-D44A36327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463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21C87C-851D-C2F2-EFE1-60E593D41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endencie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DB8EF8B-74B8-BECA-D612-DF5B9450FF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Vehicle subcategories will be updated</a:t>
            </a:r>
          </a:p>
          <a:p>
            <a:pPr lvl="1"/>
            <a:r>
              <a:rPr lang="en-GB" dirty="0"/>
              <a:t>Joint GRVA – GRSG IWG is being established for vehicle subcategories</a:t>
            </a:r>
          </a:p>
          <a:p>
            <a:pPr lvl="1"/>
            <a:r>
              <a:rPr lang="en-GB" dirty="0"/>
              <a:t>Assume the 3 classes (EU-table) for GRBP work</a:t>
            </a:r>
          </a:p>
          <a:p>
            <a:r>
              <a:rPr lang="en-GB" dirty="0"/>
              <a:t>Use-case are not clear </a:t>
            </a:r>
          </a:p>
          <a:p>
            <a:pPr lvl="1"/>
            <a:r>
              <a:rPr lang="en-GB" dirty="0"/>
              <a:t>Use-case consequences are to be included on a later stage</a:t>
            </a:r>
          </a:p>
          <a:p>
            <a:r>
              <a:rPr lang="en-GB" dirty="0"/>
              <a:t>Input from GRVA for functional requirements in GRBP regulations</a:t>
            </a:r>
          </a:p>
          <a:p>
            <a:pPr lvl="1"/>
            <a:r>
              <a:rPr lang="en-GB" dirty="0"/>
              <a:t>Avoid incorporating new requirements in this phase</a:t>
            </a:r>
          </a:p>
          <a:p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3A63C6A-8AEA-FB03-0872-C602279E8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G-AVRS Status Report GRBP-79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524567B-CE15-11FE-C8EC-06437C3CD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791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DW - presentatie sjabloon">
  <a:themeElements>
    <a:clrScheme name="Aangepast 2">
      <a:dk1>
        <a:srgbClr val="000000"/>
      </a:dk1>
      <a:lt1>
        <a:srgbClr val="FFFFFF"/>
      </a:lt1>
      <a:dk2>
        <a:srgbClr val="000047"/>
      </a:dk2>
      <a:lt2>
        <a:srgbClr val="F2F2F5"/>
      </a:lt2>
      <a:accent1>
        <a:srgbClr val="E36B1E"/>
      </a:accent1>
      <a:accent2>
        <a:srgbClr val="000033"/>
      </a:accent2>
      <a:accent3>
        <a:srgbClr val="006633"/>
      </a:accent3>
      <a:accent4>
        <a:srgbClr val="CC0000"/>
      </a:accent4>
      <a:accent5>
        <a:srgbClr val="990033"/>
      </a:accent5>
      <a:accent6>
        <a:srgbClr val="9999CC"/>
      </a:accent6>
      <a:hlink>
        <a:srgbClr val="E36B1E"/>
      </a:hlink>
      <a:folHlink>
        <a:srgbClr val="9D9D9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8089 RDW - werkdocument v9" id="{93DCA243-EE64-E94E-9BF9-63A9C1D49041}" vid="{B6920BA2-BE88-944D-8241-2E7395DCDD76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E6B962-D072-45B7-8F75-D228346137F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193957-C4EE-4FA3-A060-E7F354A9BF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3</TotalTime>
  <Words>1297</Words>
  <Application>Microsoft Office PowerPoint</Application>
  <PresentationFormat>Widescreen</PresentationFormat>
  <Paragraphs>225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Systeemlettertype</vt:lpstr>
      <vt:lpstr>Zapf Dingbats</vt:lpstr>
      <vt:lpstr>Arial</vt:lpstr>
      <vt:lpstr>Calibri</vt:lpstr>
      <vt:lpstr>Calibri Light</vt:lpstr>
      <vt:lpstr>Symbol</vt:lpstr>
      <vt:lpstr>Kantoorthema</vt:lpstr>
      <vt:lpstr>RDW - presentatie sjabloon</vt:lpstr>
      <vt:lpstr>think-cell Folie</vt:lpstr>
      <vt:lpstr>Report to 79th Session of GRBP (February 2024)</vt:lpstr>
      <vt:lpstr>SIG Automated Vehicles Regulation Screening</vt:lpstr>
      <vt:lpstr>SIG Automated Vehicles Regulation Screening</vt:lpstr>
      <vt:lpstr>Proposal for Guideline and upgrade to TF</vt:lpstr>
      <vt:lpstr>Align with EU-approach (EC2022R2236)</vt:lpstr>
      <vt:lpstr>Align with EU-approach (EC2022R2236) Main categories of AVs</vt:lpstr>
      <vt:lpstr>Align with EU-approach (EC2022R2236) In detail</vt:lpstr>
      <vt:lpstr>Priority Regulations</vt:lpstr>
      <vt:lpstr>Dependencies</vt:lpstr>
      <vt:lpstr>Timeline</vt:lpstr>
      <vt:lpstr>Dates for oncoming meetings</vt:lpstr>
      <vt:lpstr>To be approved by GRBP</vt:lpstr>
      <vt:lpstr>Thank you for your attention</vt:lpstr>
      <vt:lpstr>Next slides are background from GRBP-77 and 78</vt:lpstr>
      <vt:lpstr>Summary of earlier work</vt:lpstr>
      <vt:lpstr>Developments</vt:lpstr>
      <vt:lpstr>PowerPoint Presentation</vt:lpstr>
      <vt:lpstr>PowerPoint Presentation</vt:lpstr>
      <vt:lpstr>PowerPoint Presentation</vt:lpstr>
      <vt:lpstr>Timeline other regs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Secretariat editorial modifications</cp:lastModifiedBy>
  <cp:revision>38</cp:revision>
  <dcterms:created xsi:type="dcterms:W3CDTF">2023-01-23T11:55:36Z</dcterms:created>
  <dcterms:modified xsi:type="dcterms:W3CDTF">2024-01-22T09:18:20Z</dcterms:modified>
</cp:coreProperties>
</file>